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sldIdLst>
    <p:sldId id="3266" r:id="rId2"/>
    <p:sldId id="3279" r:id="rId3"/>
    <p:sldId id="3281" r:id="rId4"/>
    <p:sldId id="3280" r:id="rId5"/>
    <p:sldId id="3285" r:id="rId6"/>
    <p:sldId id="3275" r:id="rId7"/>
    <p:sldId id="3268" r:id="rId8"/>
    <p:sldId id="3283" r:id="rId9"/>
    <p:sldId id="3284" r:id="rId10"/>
    <p:sldId id="3271" r:id="rId11"/>
  </p:sldIdLst>
  <p:sldSz cx="12192000" cy="6858000"/>
  <p:notesSz cx="6797675" cy="9928225"/>
  <p:custDataLst>
    <p:tags r:id="rId1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74" userDrawn="1">
          <p15:clr>
            <a:srgbClr val="A4A3A4"/>
          </p15:clr>
        </p15:guide>
        <p15:guide id="2" pos="756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9E2D"/>
    <a:srgbClr val="FF6700"/>
    <a:srgbClr val="314452"/>
    <a:srgbClr val="E3E6E9"/>
    <a:srgbClr val="78CE56"/>
    <a:srgbClr val="F6F7F8"/>
    <a:srgbClr val="F7AF7E"/>
    <a:srgbClr val="6FBDD7"/>
    <a:srgbClr val="6FBE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>
        <p:guide pos="574"/>
        <p:guide pos="756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9F3A1F-BA0E-4E2A-B735-04315C2B78F5}" type="datetimeFigureOut">
              <a:rPr lang="ru-RU" smtClean="0"/>
              <a:t>02.04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F9D599-6DDF-4694-97B9-F876963D8F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8277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8B74AB-D89A-E14D-AC63-246D60009707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36292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556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71450" y="1463675"/>
            <a:ext cx="7021513" cy="3949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6BE02D-20C0-F840-AFAC-BEA99C74FD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5120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12F4BA4-9FEA-4F4B-9DC8-3D72C64C41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6C0BD4C-981A-AC4D-B7F8-A40670CCA7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0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E7B8073-66E0-DA41-A0D6-997C5F750D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F30E7-2D27-DC42-8D60-EF6315353436}" type="datetimeFigureOut">
              <a:rPr lang="ru-RU" smtClean="0"/>
              <a:t>02.04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71AF465-2DC7-A744-A35B-E3CD92CA69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C133377-CC3E-6E49-95E8-67023CE26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C3CE3-7A6A-5F44-B3AC-B8DE6BA97B3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79538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A461AC8-22DF-1347-806D-3A5AF1416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574154F-473F-1649-AA2F-6E526A848A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F83E012-CBC8-7C4B-9C95-47EC7028EC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F30E7-2D27-DC42-8D60-EF6315353436}" type="datetimeFigureOut">
              <a:rPr lang="ru-RU" smtClean="0"/>
              <a:t>02.04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745D356-C69B-6640-8A59-F84163C7CE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22FE264-AAF3-C949-B970-2752462CC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C3CE3-7A6A-5F44-B3AC-B8DE6BA97B3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60321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9A9ADDE5-8637-3947-8371-6C8E24B962D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899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D99C6B70-34C5-9C4E-A21C-D78381F0B8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199" y="365125"/>
            <a:ext cx="7734300" cy="5811838"/>
          </a:xfrm>
        </p:spPr>
        <p:txBody>
          <a:bodyPr vert="eaVert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B392975-1C67-B84D-B8F8-A86A7E1FE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F30E7-2D27-DC42-8D60-EF6315353436}" type="datetimeFigureOut">
              <a:rPr lang="ru-RU" smtClean="0"/>
              <a:t>02.04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89E7145-5BA6-7248-B564-48C7140FEB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06095F2-71B4-5745-9A78-59D10D9DD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C3CE3-7A6A-5F44-B3AC-B8DE6BA97B3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218722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age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27080" y="540949"/>
            <a:ext cx="4371660" cy="5424407"/>
          </a:xfrm>
          <a:solidFill>
            <a:srgbClr val="F3F3F5"/>
          </a:solidFill>
        </p:spPr>
        <p:txBody>
          <a:bodyPr>
            <a:normAutofit/>
          </a:bodyPr>
          <a:lstStyle>
            <a:lvl1pPr>
              <a:defRPr sz="14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0423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80C35B1-1809-8A48-B2CA-A0D65D37E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EAA3CD7-7D3E-6A47-8E09-6E51253204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6CEE81A-2E9F-4849-B611-4532D3C553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F30E7-2D27-DC42-8D60-EF6315353436}" type="datetimeFigureOut">
              <a:rPr lang="ru-RU" smtClean="0"/>
              <a:t>02.04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2CBB79A-25DF-4A44-802D-C48CB9BF2C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D971592-ADD2-704D-829E-4A6E52F74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C3CE3-7A6A-5F44-B3AC-B8DE6BA97B3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50282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39B4F0-5F8C-924B-B2DE-FD6714ABB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2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95C4D47-0A01-3349-AEE9-AB1E841FFB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2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B810F59-F285-FF46-AE15-91D4722B48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F30E7-2D27-DC42-8D60-EF6315353436}" type="datetimeFigureOut">
              <a:rPr lang="ru-RU" smtClean="0"/>
              <a:t>02.04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0CDEB95-B0E5-8C4A-83CB-0FF361FBF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5F37091-683E-544E-8F47-3EC63D564F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C3CE3-7A6A-5F44-B3AC-B8DE6BA97B3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3645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D19B584-6848-DB4C-B714-02012C0C6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17EEBF3-951C-0E41-B1C3-224862DE3A7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8255F6E-7835-B844-88FF-25EBA7A720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1238DF1-384B-BD42-960F-A84D56C16A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F30E7-2D27-DC42-8D60-EF6315353436}" type="datetimeFigureOut">
              <a:rPr lang="ru-RU" smtClean="0"/>
              <a:t>02.04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C7C332B-76F1-1F46-8439-C19582BC3D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6A91B97-6212-7C40-910E-713FD8F91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C3CE3-7A6A-5F44-B3AC-B8DE6BA97B3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19672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8A6E4A6-58A3-4F43-BBB6-8DB92623AC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DF813FE-1456-BC44-B52C-368132A943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6" indent="0">
              <a:buNone/>
              <a:defRPr sz="2000" b="1"/>
            </a:lvl2pPr>
            <a:lvl3pPr marL="914411" indent="0">
              <a:buNone/>
              <a:defRPr sz="1800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18D175C-4398-3C43-9F10-1103DEF133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1E1BB00-8DCF-C346-8D15-485D639D19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6" indent="0">
              <a:buNone/>
              <a:defRPr sz="2000" b="1"/>
            </a:lvl2pPr>
            <a:lvl3pPr marL="914411" indent="0">
              <a:buNone/>
              <a:defRPr sz="1800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D90C7861-B7D2-6D4E-9A75-6C27AE1EC86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2" y="2505076"/>
            <a:ext cx="5183188" cy="368458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DAA8E463-B1F5-1643-A5FE-06B0903475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F30E7-2D27-DC42-8D60-EF6315353436}" type="datetimeFigureOut">
              <a:rPr lang="ru-RU" smtClean="0"/>
              <a:t>02.04.2020</a:t>
            </a:fld>
            <a:endParaRPr lang="ru-RU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143EAF0C-904F-924A-ABBC-E3A894C0A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82B912D9-54C7-5449-ADFB-2321308F2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C3CE3-7A6A-5F44-B3AC-B8DE6BA97B3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30479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2764E5A-02C7-A149-81B2-74AD682EE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0838DC89-A12D-D04F-BF16-6E8AA5E515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F30E7-2D27-DC42-8D60-EF6315353436}" type="datetimeFigureOut">
              <a:rPr lang="ru-RU" smtClean="0"/>
              <a:t>02.04.2020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8EB15B5E-E59D-014A-985E-26C752419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37F044E-2E02-8446-9B2C-9E70374427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C3CE3-7A6A-5F44-B3AC-B8DE6BA97B3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78620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3E413EE-98B7-924C-8FC6-A842508A75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F30E7-2D27-DC42-8D60-EF6315353436}" type="datetimeFigureOut">
              <a:rPr lang="ru-RU" smtClean="0"/>
              <a:t>02.04.2020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C82165DA-162E-3C45-943C-1E5F3B014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C3BFB24-28AE-F24A-A187-0F6A3F590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C3CE3-7A6A-5F44-B3AC-B8DE6BA97B3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62624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D90E7AF-2A1B-F543-8C4A-C3DA26384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0B7F53C-7340-B549-B9B4-9255A91067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64DABA2-BF10-C24F-8746-EB2BCCBBAD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6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6" indent="0">
              <a:buNone/>
              <a:defRPr sz="1400"/>
            </a:lvl2pPr>
            <a:lvl3pPr marL="914411" indent="0">
              <a:buNone/>
              <a:defRPr sz="1200"/>
            </a:lvl3pPr>
            <a:lvl4pPr marL="1371617" indent="0">
              <a:buNone/>
              <a:defRPr sz="1000"/>
            </a:lvl4pPr>
            <a:lvl5pPr marL="1828823" indent="0">
              <a:buNone/>
              <a:defRPr sz="1000"/>
            </a:lvl5pPr>
            <a:lvl6pPr marL="2286029" indent="0">
              <a:buNone/>
              <a:defRPr sz="1000"/>
            </a:lvl6pPr>
            <a:lvl7pPr marL="2743234" indent="0">
              <a:buNone/>
              <a:defRPr sz="1000"/>
            </a:lvl7pPr>
            <a:lvl8pPr marL="3200440" indent="0">
              <a:buNone/>
              <a:defRPr sz="1000"/>
            </a:lvl8pPr>
            <a:lvl9pPr marL="3657646" indent="0">
              <a:buNone/>
              <a:defRPr sz="1000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83EF87B-7801-054D-AB0F-C31F9D8F84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F30E7-2D27-DC42-8D60-EF6315353436}" type="datetimeFigureOut">
              <a:rPr lang="ru-RU" smtClean="0"/>
              <a:t>02.04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ECF8D61-5F9A-A04C-8F8B-2C6E906262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EA04D25-327A-284F-A94A-670917BFD3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C3CE3-7A6A-5F44-B3AC-B8DE6BA97B3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364748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76306E-B4E5-F54F-A135-652BC6BB6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E2CE2CC3-5816-0340-A52E-C4806F77D53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6" indent="0">
              <a:buNone/>
              <a:defRPr sz="2800"/>
            </a:lvl2pPr>
            <a:lvl3pPr marL="914411" indent="0">
              <a:buNone/>
              <a:defRPr sz="2400"/>
            </a:lvl3pPr>
            <a:lvl4pPr marL="1371617" indent="0">
              <a:buNone/>
              <a:defRPr sz="2000"/>
            </a:lvl4pPr>
            <a:lvl5pPr marL="1828823" indent="0">
              <a:buNone/>
              <a:defRPr sz="2000"/>
            </a:lvl5pPr>
            <a:lvl6pPr marL="2286029" indent="0">
              <a:buNone/>
              <a:defRPr sz="2000"/>
            </a:lvl6pPr>
            <a:lvl7pPr marL="2743234" indent="0">
              <a:buNone/>
              <a:defRPr sz="2000"/>
            </a:lvl7pPr>
            <a:lvl8pPr marL="3200440" indent="0">
              <a:buNone/>
              <a:defRPr sz="2000"/>
            </a:lvl8pPr>
            <a:lvl9pPr marL="3657646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7967DF4-5689-6843-B7D5-1C0B391C58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6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6" indent="0">
              <a:buNone/>
              <a:defRPr sz="1400"/>
            </a:lvl2pPr>
            <a:lvl3pPr marL="914411" indent="0">
              <a:buNone/>
              <a:defRPr sz="1200"/>
            </a:lvl3pPr>
            <a:lvl4pPr marL="1371617" indent="0">
              <a:buNone/>
              <a:defRPr sz="1000"/>
            </a:lvl4pPr>
            <a:lvl5pPr marL="1828823" indent="0">
              <a:buNone/>
              <a:defRPr sz="1000"/>
            </a:lvl5pPr>
            <a:lvl6pPr marL="2286029" indent="0">
              <a:buNone/>
              <a:defRPr sz="1000"/>
            </a:lvl6pPr>
            <a:lvl7pPr marL="2743234" indent="0">
              <a:buNone/>
              <a:defRPr sz="1000"/>
            </a:lvl7pPr>
            <a:lvl8pPr marL="3200440" indent="0">
              <a:buNone/>
              <a:defRPr sz="1000"/>
            </a:lvl8pPr>
            <a:lvl9pPr marL="3657646" indent="0">
              <a:buNone/>
              <a:defRPr sz="1000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A96F586-AE49-5545-B03B-3D58FE01B3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F30E7-2D27-DC42-8D60-EF6315353436}" type="datetimeFigureOut">
              <a:rPr lang="ru-RU" smtClean="0"/>
              <a:t>02.04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0F444DE-1BB0-0E43-9E0E-4B0665EAB3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40BA24F-3923-7145-8A1F-CF7FCCFF9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C3CE3-7A6A-5F44-B3AC-B8DE6BA97B3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28348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F7CE0F5-7912-4A48-A6BF-9AC5344D40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8755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" name="Слайд think-cell" r:id="rId17" imgW="347" imgH="348" progId="TCLayout.ActiveDocument.1">
                  <p:embed/>
                </p:oleObj>
              </mc:Choice>
              <mc:Fallback>
                <p:oleObj name="Слайд think-cell" r:id="rId17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677F35A8-53A2-499F-867A-127800023269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FBC8878-8D04-304A-B235-7F8976041F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2C40DDB-BBC9-A246-9664-803FBE52ED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B4A1A13-B197-4B41-A5FE-EA1230D9B0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9F30E7-2D27-DC42-8D60-EF6315353436}" type="datetimeFigureOut">
              <a:rPr lang="ru-RU" smtClean="0"/>
              <a:t>02.04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18F1DB9-D4EE-C140-8828-6C2BA980DB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2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E49CEA1-CD70-3F47-A8C9-11567700EF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BC3CE3-7A6A-5F44-B3AC-B8DE6BA97B3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3230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3" indent="-228603" algn="l" defTabSz="91441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8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14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20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26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32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7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3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8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13" Type="http://schemas.openxmlformats.org/officeDocument/2006/relationships/image" Target="../media/image18.emf"/><Relationship Id="rId18" Type="http://schemas.openxmlformats.org/officeDocument/2006/relationships/image" Target="../media/image3.png"/><Relationship Id="rId3" Type="http://schemas.openxmlformats.org/officeDocument/2006/relationships/tags" Target="../tags/tag7.xml"/><Relationship Id="rId7" Type="http://schemas.openxmlformats.org/officeDocument/2006/relationships/image" Target="../media/image12.png"/><Relationship Id="rId12" Type="http://schemas.openxmlformats.org/officeDocument/2006/relationships/image" Target="../media/image17.emf"/><Relationship Id="rId17" Type="http://schemas.openxmlformats.org/officeDocument/2006/relationships/image" Target="../media/image5.jpeg"/><Relationship Id="rId2" Type="http://schemas.openxmlformats.org/officeDocument/2006/relationships/tags" Target="../tags/tag6.xml"/><Relationship Id="rId16" Type="http://schemas.openxmlformats.org/officeDocument/2006/relationships/hyperlink" Target="https://veb.dr-telemed.ru/" TargetMode="Externa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16.emf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1.emf"/><Relationship Id="rId10" Type="http://schemas.openxmlformats.org/officeDocument/2006/relationships/image" Target="../media/image15.emf"/><Relationship Id="rId4" Type="http://schemas.openxmlformats.org/officeDocument/2006/relationships/tags" Target="../tags/tag8.xml"/><Relationship Id="rId9" Type="http://schemas.openxmlformats.org/officeDocument/2006/relationships/image" Target="../media/image14.emf"/><Relationship Id="rId1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6008D9F-792F-364A-9E85-8D3CC91AF66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81" r="1"/>
          <a:stretch/>
        </p:blipFill>
        <p:spPr>
          <a:xfrm flipH="1">
            <a:off x="3883884" y="-3836"/>
            <a:ext cx="8308116" cy="6861836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099068B-83B9-3943-BCE8-C2955FEEB054}"/>
              </a:ext>
            </a:extLst>
          </p:cNvPr>
          <p:cNvSpPr/>
          <p:nvPr/>
        </p:nvSpPr>
        <p:spPr>
          <a:xfrm>
            <a:off x="0" y="0"/>
            <a:ext cx="7832992" cy="6858000"/>
          </a:xfrm>
          <a:prstGeom prst="rect">
            <a:avLst/>
          </a:prstGeom>
          <a:gradFill>
            <a:gsLst>
              <a:gs pos="49000">
                <a:srgbClr val="FDFDFD"/>
              </a:gs>
              <a:gs pos="90000">
                <a:srgbClr val="FBFBFC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Рисунок 7" descr="Изображение выглядит как рисунок, знак&#10;&#10;Автоматически созданное описание">
            <a:extLst>
              <a:ext uri="{FF2B5EF4-FFF2-40B4-BE49-F238E27FC236}">
                <a16:creationId xmlns:a16="http://schemas.microsoft.com/office/drawing/2014/main" id="{30ACFA06-77ED-48C9-A32A-CF65EEF499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696" y="530093"/>
            <a:ext cx="3730499" cy="186722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B95F575-923E-8F44-AA6A-62B59BD9C4F0}"/>
              </a:ext>
            </a:extLst>
          </p:cNvPr>
          <p:cNvSpPr txBox="1"/>
          <p:nvPr/>
        </p:nvSpPr>
        <p:spPr>
          <a:xfrm>
            <a:off x="710571" y="5482805"/>
            <a:ext cx="56313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dirty="0">
                <a:solidFill>
                  <a:srgbClr val="31445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условиях эпидемии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31445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VID-19</a:t>
            </a:r>
            <a:endParaRPr lang="ru-RU" sz="2000" dirty="0">
              <a:solidFill>
                <a:srgbClr val="314452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1C4D387-B495-C540-83F4-D7163A32084C}"/>
              </a:ext>
            </a:extLst>
          </p:cNvPr>
          <p:cNvSpPr/>
          <p:nvPr/>
        </p:nvSpPr>
        <p:spPr>
          <a:xfrm>
            <a:off x="710571" y="2727098"/>
            <a:ext cx="5203381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4000" dirty="0">
                <a:solidFill>
                  <a:srgbClr val="069E2D"/>
                </a:solidFill>
                <a:latin typeface="Rotonda Bold" panose="02000803030000020004" pitchFamily="2" charset="0"/>
                <a:ea typeface="Arial"/>
                <a:cs typeface="Arial"/>
                <a:sym typeface="Arial"/>
              </a:rPr>
              <a:t>Бесплатные дистанционные консультации </a:t>
            </a:r>
          </a:p>
          <a:p>
            <a:pPr lvl="0">
              <a:defRPr/>
            </a:pPr>
            <a:r>
              <a:rPr lang="ru-RU" sz="4000" dirty="0">
                <a:solidFill>
                  <a:srgbClr val="314452"/>
                </a:solidFill>
                <a:latin typeface="Rotonda Bold" panose="02000803030000020004" pitchFamily="2" charset="0"/>
                <a:ea typeface="Arial"/>
                <a:cs typeface="Arial"/>
                <a:sym typeface="Arial"/>
              </a:rPr>
              <a:t>для граждан РФ</a:t>
            </a:r>
          </a:p>
        </p:txBody>
      </p:sp>
      <p:pic>
        <p:nvPicPr>
          <p:cNvPr id="26626" name="Picture 2" descr="Картинки по запросу &quot;вэб.рф&quot;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3884" y="1021252"/>
            <a:ext cx="1157625" cy="902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96149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D64C369C-BE57-2445-B8C6-58576B82CEC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3"/>
            <a:ext cx="12192000" cy="685703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B95F575-923E-8F44-AA6A-62B59BD9C4F0}"/>
              </a:ext>
            </a:extLst>
          </p:cNvPr>
          <p:cNvSpPr txBox="1"/>
          <p:nvPr/>
        </p:nvSpPr>
        <p:spPr>
          <a:xfrm>
            <a:off x="1" y="1258624"/>
            <a:ext cx="1219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800" spc="120" dirty="0">
                <a:solidFill>
                  <a:schemeClr val="tx1">
                    <a:lumMod val="75000"/>
                    <a:lumOff val="25000"/>
                  </a:schemeClr>
                </a:solidFill>
                <a:latin typeface="Rotonda Bold" panose="02000803030000020004" pitchFamily="2" charset="0"/>
                <a:ea typeface="Montserrat" charset="0"/>
                <a:cs typeface="Arial Black" panose="020B0604020202020204" pitchFamily="34" charset="0"/>
              </a:rPr>
              <a:t>СПАСИБО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800" spc="120" dirty="0">
                <a:solidFill>
                  <a:schemeClr val="tx1">
                    <a:lumMod val="75000"/>
                    <a:lumOff val="25000"/>
                  </a:schemeClr>
                </a:solidFill>
                <a:latin typeface="Rotonda Bold" panose="02000803030000020004" pitchFamily="2" charset="0"/>
                <a:ea typeface="Montserrat" charset="0"/>
                <a:cs typeface="Arial Black" panose="020B0604020202020204" pitchFamily="34" charset="0"/>
              </a:rPr>
              <a:t>ЗА ВНИМАНИЕ!</a:t>
            </a:r>
            <a:endParaRPr lang="ru-RU" sz="3600" spc="120" dirty="0">
              <a:solidFill>
                <a:schemeClr val="tx1">
                  <a:lumMod val="75000"/>
                  <a:lumOff val="25000"/>
                </a:schemeClr>
              </a:solidFill>
              <a:latin typeface="Rotonda Bold" panose="02000803030000020004" pitchFamily="2" charset="0"/>
              <a:ea typeface="Montserrat" charset="0"/>
              <a:cs typeface="Arial Black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55855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1DE493EB-2A3C-4EB7-BBB0-5281458352F6}"/>
              </a:ext>
            </a:extLst>
          </p:cNvPr>
          <p:cNvSpPr/>
          <p:nvPr/>
        </p:nvSpPr>
        <p:spPr>
          <a:xfrm>
            <a:off x="187214" y="6337267"/>
            <a:ext cx="55272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F975B94-E97D-4E3E-ABD0-027C211DC7A9}"/>
              </a:ext>
            </a:extLst>
          </p:cNvPr>
          <p:cNvSpPr txBox="1"/>
          <p:nvPr/>
        </p:nvSpPr>
        <p:spPr>
          <a:xfrm>
            <a:off x="2083383" y="413944"/>
            <a:ext cx="49565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800" spc="120" dirty="0">
                <a:solidFill>
                  <a:schemeClr val="tx1">
                    <a:lumMod val="75000"/>
                    <a:lumOff val="25000"/>
                  </a:schemeClr>
                </a:solidFill>
                <a:latin typeface="Rotonda Bold" panose="02000803030000020004" pitchFamily="2" charset="0"/>
                <a:ea typeface="Montserrat" charset="0"/>
                <a:cs typeface="Arial Black" panose="020B0604020202020204" pitchFamily="34" charset="0"/>
              </a:rPr>
              <a:t>АКТУАЛЬНОСТЬ ВОПРОСА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1213804" y="1512436"/>
            <a:ext cx="6261194" cy="4672626"/>
            <a:chOff x="5473877" y="1512436"/>
            <a:chExt cx="5610688" cy="4672626"/>
          </a:xfrm>
        </p:grpSpPr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1DE493EB-2A3C-4EB7-BBB0-5281458352F6}"/>
                </a:ext>
              </a:extLst>
            </p:cNvPr>
            <p:cNvSpPr/>
            <p:nvPr/>
          </p:nvSpPr>
          <p:spPr>
            <a:xfrm>
              <a:off x="5731759" y="1512436"/>
              <a:ext cx="5352806" cy="46726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На 02.04 в России зарегистрировано </a:t>
              </a:r>
            </a:p>
            <a:p>
              <a:r>
                <a:rPr lang="ru-RU" sz="1600" b="1" dirty="0">
                  <a:solidFill>
                    <a:srgbClr val="FF67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3548</a:t>
              </a:r>
              <a:r>
                <a:rPr lang="ru-RU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ru-RU" sz="1600" b="1" dirty="0">
                  <a:solidFill>
                    <a:srgbClr val="FF67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лучаев</a:t>
              </a:r>
              <a:r>
                <a:rPr lang="ru-RU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заражения коронавирусом</a:t>
              </a:r>
            </a:p>
            <a:p>
              <a:endParaRPr lang="en-GB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Более </a:t>
              </a:r>
              <a:r>
                <a:rPr lang="ru-RU" sz="1600" b="1" dirty="0">
                  <a:solidFill>
                    <a:srgbClr val="FF67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23% </a:t>
              </a:r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жителей России – </a:t>
              </a:r>
              <a:r>
                <a:rPr lang="ru-RU" sz="1600" b="1" dirty="0">
                  <a:solidFill>
                    <a:srgbClr val="FF67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пожилые люди</a:t>
              </a:r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, по данным Минздрава, </a:t>
              </a:r>
              <a:r>
                <a:rPr lang="ru-RU" sz="1600" b="1" dirty="0">
                  <a:solidFill>
                    <a:srgbClr val="FF67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45%</a:t>
              </a:r>
              <a:r>
                <a:rPr lang="ru-RU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россиян страдают</a:t>
              </a:r>
              <a:r>
                <a:rPr lang="ru-RU" sz="1600" b="1" dirty="0">
                  <a:solidFill>
                    <a:srgbClr val="FF67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хроническими заболеваниями</a:t>
              </a:r>
              <a:endPara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endPara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Более </a:t>
              </a:r>
              <a:r>
                <a:rPr lang="ru-RU" sz="1600" b="1" dirty="0">
                  <a:solidFill>
                    <a:srgbClr val="FF67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70</a:t>
              </a:r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российских субъектов ввели режим частичной или полной </a:t>
              </a:r>
              <a:r>
                <a:rPr lang="ru-RU" sz="1600" b="1" dirty="0">
                  <a:solidFill>
                    <a:srgbClr val="FF67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амоизоляции</a:t>
              </a:r>
              <a:endPara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endPara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endPara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Во многих регионах </a:t>
              </a:r>
              <a:r>
                <a:rPr lang="ru-RU" sz="1600" b="1" dirty="0">
                  <a:solidFill>
                    <a:srgbClr val="FF67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вводятся ограничения на амбулаторные приемы</a:t>
              </a:r>
              <a:r>
                <a:rPr lang="ru-RU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, плановую диспансеризацию и госпитализацию.</a:t>
              </a:r>
            </a:p>
            <a:p>
              <a:pPr>
                <a:lnSpc>
                  <a:spcPct val="107000"/>
                </a:lnSpc>
                <a:spcAft>
                  <a:spcPts val="800"/>
                </a:spcAft>
              </a:pPr>
              <a:endParaRPr lang="en-GB" sz="1600" b="1" dirty="0">
                <a:solidFill>
                  <a:srgbClr val="6FBED8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600" b="1" dirty="0">
                  <a:solidFill>
                    <a:srgbClr val="069E2D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В условиях самоизоляции и карантина многие нуждаются в качественной и удобной дистанционной медицинской помощи!</a:t>
              </a:r>
              <a:endParaRPr lang="ru-RU" sz="1600" dirty="0">
                <a:solidFill>
                  <a:srgbClr val="069E2D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7" name="Овал 36"/>
            <p:cNvSpPr/>
            <p:nvPr/>
          </p:nvSpPr>
          <p:spPr>
            <a:xfrm>
              <a:off x="5473877" y="1638113"/>
              <a:ext cx="142043" cy="14204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8" name="Овал 37"/>
            <p:cNvSpPr/>
            <p:nvPr/>
          </p:nvSpPr>
          <p:spPr>
            <a:xfrm>
              <a:off x="5473877" y="2360584"/>
              <a:ext cx="142043" cy="14204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9" name="Овал 38"/>
            <p:cNvSpPr/>
            <p:nvPr/>
          </p:nvSpPr>
          <p:spPr>
            <a:xfrm>
              <a:off x="5473877" y="3324517"/>
              <a:ext cx="142043" cy="14204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0" name="Овал 39"/>
            <p:cNvSpPr/>
            <p:nvPr/>
          </p:nvSpPr>
          <p:spPr>
            <a:xfrm>
              <a:off x="5473877" y="4303778"/>
              <a:ext cx="142043" cy="14204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1" name="Овал 40"/>
            <p:cNvSpPr/>
            <p:nvPr/>
          </p:nvSpPr>
          <p:spPr>
            <a:xfrm>
              <a:off x="5473877" y="5373803"/>
              <a:ext cx="142043" cy="14204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1DE493EB-2A3C-4EB7-BBB0-5281458352F6}"/>
              </a:ext>
            </a:extLst>
          </p:cNvPr>
          <p:cNvSpPr/>
          <p:nvPr/>
        </p:nvSpPr>
        <p:spPr>
          <a:xfrm>
            <a:off x="187214" y="6337267"/>
            <a:ext cx="55272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3" name="Picture 2" descr="Картинки по запросу &quot;вэб.рф&quot;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3804" y="453272"/>
            <a:ext cx="557359" cy="434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Рисунок 43" descr="Изображение выглядит как рисунок, знак&#10;&#10;Автоматически созданное описание">
            <a:extLst>
              <a:ext uri="{FF2B5EF4-FFF2-40B4-BE49-F238E27FC236}">
                <a16:creationId xmlns:a16="http://schemas.microsoft.com/office/drawing/2014/main" id="{30ACFA06-77ED-48C9-A32A-CF65EEF4994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36" t="22688" r="58117" b="21496"/>
          <a:stretch/>
        </p:blipFill>
        <p:spPr>
          <a:xfrm>
            <a:off x="477749" y="395647"/>
            <a:ext cx="553947" cy="570081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B4CC73A-F4B7-4173-A642-CDEF5AA75A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0000" y="0"/>
            <a:ext cx="457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8157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0F975B94-E97D-4E3E-ABD0-027C211DC7A9}"/>
              </a:ext>
            </a:extLst>
          </p:cNvPr>
          <p:cNvSpPr txBox="1"/>
          <p:nvPr/>
        </p:nvSpPr>
        <p:spPr>
          <a:xfrm>
            <a:off x="2083383" y="413944"/>
            <a:ext cx="79750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Rotonda Bold" panose="02000803030000020004" pitchFamily="2" charset="0"/>
                <a:ea typeface="Montserrat" charset="0"/>
                <a:cs typeface="Arial Black" panose="020B0604020202020204" pitchFamily="34" charset="0"/>
              </a:rPr>
              <a:t>РЕШЕНИЕ ОТ ВЭБ.РФ</a:t>
            </a:r>
            <a:r>
              <a:rPr lang="en-GB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Rotonda Bold" panose="02000803030000020004" pitchFamily="2" charset="0"/>
                <a:ea typeface="Montserrat" charset="0"/>
                <a:cs typeface="Arial Black" panose="020B0604020202020204" pitchFamily="34" charset="0"/>
              </a:rPr>
              <a:t> </a:t>
            </a: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Rotonda Bold" panose="02000803030000020004" pitchFamily="2" charset="0"/>
                <a:ea typeface="Montserrat" charset="0"/>
                <a:cs typeface="Arial Black" panose="020B0604020202020204" pitchFamily="34" charset="0"/>
              </a:rPr>
              <a:t>И ДОКТОР РЯДОМ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2208942" y="1140542"/>
            <a:ext cx="8173924" cy="1916350"/>
          </a:xfrm>
          <a:prstGeom prst="rect">
            <a:avLst/>
          </a:prstGeom>
          <a:noFill/>
          <a:ln w="38100">
            <a:solidFill>
              <a:srgbClr val="E3E6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1031696" y="2106061"/>
            <a:ext cx="7591194" cy="1183399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3569110" y="937164"/>
            <a:ext cx="6951380" cy="1250192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4C3D657-389B-427B-BA34-DD7EE98889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6432" y="1536331"/>
            <a:ext cx="7086162" cy="1672642"/>
          </a:xfrm>
        </p:spPr>
        <p:txBody>
          <a:bodyPr>
            <a:normAutofit/>
          </a:bodyPr>
          <a:lstStyle/>
          <a:p>
            <a:pPr marL="0" indent="0" algn="just">
              <a:lnSpc>
                <a:spcPct val="150000"/>
              </a:lnSpc>
              <a:buNone/>
            </a:pPr>
            <a:r>
              <a:rPr lang="ru-RU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оставление доступа гражданам РФ к бесплатным дистанционным консультациям практикующих врачей с помощью телемедицинского сервиса  Доктор рядом по широкому кругу медицинских вопросов.</a:t>
            </a:r>
          </a:p>
          <a:p>
            <a:pPr marL="0" indent="0">
              <a:lnSpc>
                <a:spcPct val="150000"/>
              </a:lnSpc>
              <a:buNone/>
            </a:pPr>
            <a:endParaRPr lang="ru-RU" sz="1800" i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i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1DE493EB-2A3C-4EB7-BBB0-5281458352F6}"/>
              </a:ext>
            </a:extLst>
          </p:cNvPr>
          <p:cNvSpPr/>
          <p:nvPr/>
        </p:nvSpPr>
        <p:spPr>
          <a:xfrm>
            <a:off x="187214" y="6337267"/>
            <a:ext cx="55272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Объект 2">
            <a:extLst>
              <a:ext uri="{FF2B5EF4-FFF2-40B4-BE49-F238E27FC236}">
                <a16:creationId xmlns:a16="http://schemas.microsoft.com/office/drawing/2014/main" id="{94C3D657-389B-427B-BA34-DD7EE988891A}"/>
              </a:ext>
            </a:extLst>
          </p:cNvPr>
          <p:cNvSpPr txBox="1">
            <a:spLocks/>
          </p:cNvSpPr>
          <p:nvPr/>
        </p:nvSpPr>
        <p:spPr>
          <a:xfrm>
            <a:off x="3057806" y="3859190"/>
            <a:ext cx="7462684" cy="26554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3" indent="-228603" algn="l" defTabSz="91441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8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4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0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6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7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3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8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3000"/>
              </a:spcBef>
              <a:buNone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вышение доступности медицинской помощи гражданам во всех регионах страны в условиях дистанционной работы и самоизоляции;</a:t>
            </a:r>
          </a:p>
          <a:p>
            <a:pPr marL="0" indent="0">
              <a:lnSpc>
                <a:spcPct val="100000"/>
              </a:lnSpc>
              <a:spcBef>
                <a:spcPts val="3000"/>
              </a:spcBef>
              <a:buNone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нижение рисков заболевания граждан и противодействие дальнейшему распространению эпидемии.</a:t>
            </a:r>
          </a:p>
          <a:p>
            <a:pPr marL="0" indent="0">
              <a:lnSpc>
                <a:spcPct val="100000"/>
              </a:lnSpc>
              <a:spcBef>
                <a:spcPts val="3000"/>
              </a:spcBef>
              <a:buNone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меньшение нагрузки на лечебные учреждения и снижение риска заражения медицинского персонала</a:t>
            </a:r>
          </a:p>
          <a:p>
            <a:pPr marL="0" indent="0">
              <a:spcBef>
                <a:spcPts val="3000"/>
              </a:spcBef>
              <a:buFont typeface="Arial" panose="020B0604020202020204" pitchFamily="34" charset="0"/>
              <a:buNone/>
            </a:pP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" name="Объект 2">
            <a:extLst>
              <a:ext uri="{FF2B5EF4-FFF2-40B4-BE49-F238E27FC236}">
                <a16:creationId xmlns:a16="http://schemas.microsoft.com/office/drawing/2014/main" id="{94C3D657-389B-427B-BA34-DD7EE988891A}"/>
              </a:ext>
            </a:extLst>
          </p:cNvPr>
          <p:cNvSpPr txBox="1">
            <a:spLocks/>
          </p:cNvSpPr>
          <p:nvPr/>
        </p:nvSpPr>
        <p:spPr>
          <a:xfrm>
            <a:off x="2222705" y="3083239"/>
            <a:ext cx="4934320" cy="3591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3" indent="-228603" algn="l" defTabSz="91441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8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4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0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6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7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3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8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2400" spc="100" dirty="0">
                <a:solidFill>
                  <a:srgbClr val="069E2D"/>
                </a:solidFill>
                <a:latin typeface="Rotonda Bold" panose="02000803030000020004" pitchFamily="2" charset="0"/>
                <a:ea typeface="Verdana" panose="020B0604030504040204" pitchFamily="34" charset="0"/>
                <a:cs typeface="Arial" panose="020B0604020202020204" pitchFamily="34" charset="0"/>
              </a:rPr>
              <a:t>ОСНО</a:t>
            </a:r>
            <a:r>
              <a:rPr lang="ru-RU" sz="2400" spc="120" dirty="0">
                <a:solidFill>
                  <a:srgbClr val="069E2D"/>
                </a:solidFill>
                <a:latin typeface="Rotonda Bold" panose="02000803030000020004" pitchFamily="2" charset="0"/>
                <a:ea typeface="Verdana" panose="020B0604030504040204" pitchFamily="34" charset="0"/>
                <a:cs typeface="Arial" panose="020B0604020202020204" pitchFamily="34" charset="0"/>
              </a:rPr>
              <a:t>ВНЫЕ ЦЕЛИ:</a:t>
            </a:r>
            <a:endParaRPr lang="ru-RU" sz="3200" dirty="0">
              <a:solidFill>
                <a:srgbClr val="069E2D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ru-RU" sz="4400" dirty="0">
              <a:solidFill>
                <a:srgbClr val="069E2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2" name="Picture 2" descr="Картинки по запросу &quot;вэб.рф&quot;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718" y="453272"/>
            <a:ext cx="557359" cy="434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Рисунок 22" descr="Изображение выглядит как рисунок, знак&#10;&#10;Автоматически созданное описание">
            <a:extLst>
              <a:ext uri="{FF2B5EF4-FFF2-40B4-BE49-F238E27FC236}">
                <a16:creationId xmlns:a16="http://schemas.microsoft.com/office/drawing/2014/main" id="{30ACFA06-77ED-48C9-A32A-CF65EEF4994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36" t="22688" r="58117" b="21496"/>
          <a:stretch/>
        </p:blipFill>
        <p:spPr>
          <a:xfrm>
            <a:off x="477749" y="395647"/>
            <a:ext cx="553947" cy="570081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67894" y="4769537"/>
            <a:ext cx="393649" cy="39375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52192" y="5641369"/>
            <a:ext cx="425052" cy="32552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91994" y="3914348"/>
            <a:ext cx="345448" cy="474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1899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id="{0F975B94-E97D-4E3E-ABD0-027C211DC7A9}"/>
              </a:ext>
            </a:extLst>
          </p:cNvPr>
          <p:cNvSpPr txBox="1"/>
          <p:nvPr/>
        </p:nvSpPr>
        <p:spPr>
          <a:xfrm>
            <a:off x="2083382" y="395647"/>
            <a:ext cx="59952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800" spc="120" dirty="0">
                <a:solidFill>
                  <a:schemeClr val="tx1">
                    <a:lumMod val="75000"/>
                    <a:lumOff val="25000"/>
                  </a:schemeClr>
                </a:solidFill>
                <a:latin typeface="Rotonda Bold" panose="02000803030000020004" pitchFamily="2" charset="0"/>
                <a:ea typeface="Montserrat" charset="0"/>
                <a:cs typeface="Arial Black" panose="020B0604020202020204" pitchFamily="34" charset="0"/>
              </a:rPr>
              <a:t>ПЛАТФОРМА ДОКТОР РЯДОМ</a:t>
            </a:r>
          </a:p>
        </p:txBody>
      </p:sp>
      <p:pic>
        <p:nvPicPr>
          <p:cNvPr id="35" name="Picture 2" descr="Картинки по запросу &quot;вэб.рф&quot;"/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3804" y="453272"/>
            <a:ext cx="557359" cy="434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Рисунок 36" descr="Изображение выглядит как рисунок, знак&#10;&#10;Автоматически созданное описание">
            <a:extLst>
              <a:ext uri="{FF2B5EF4-FFF2-40B4-BE49-F238E27FC236}">
                <a16:creationId xmlns:a16="http://schemas.microsoft.com/office/drawing/2014/main" id="{30ACFA06-77ED-48C9-A32A-CF65EEF4994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36" t="22688" r="58117" b="21496"/>
          <a:stretch/>
        </p:blipFill>
        <p:spPr>
          <a:xfrm>
            <a:off x="477749" y="395647"/>
            <a:ext cx="553947" cy="570081"/>
          </a:xfrm>
          <a:prstGeom prst="rect">
            <a:avLst/>
          </a:prstGeom>
        </p:spPr>
      </p:pic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22ACEFDC-3A94-4131-9E6E-3E6B1DA585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5" name="Слайд think-cell" r:id="rId8" imgW="347" imgH="348" progId="TCLayout.ActiveDocument.1">
                  <p:embed/>
                </p:oleObj>
              </mc:Choice>
              <mc:Fallback>
                <p:oleObj name="Слайд think-cell" r:id="rId8" imgW="347" imgH="348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22ACEFDC-3A94-4131-9E6E-3E6B1DA585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FCC00600-7015-464B-ABAB-3C26BBB84C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object 39">
            <a:extLst>
              <a:ext uri="{FF2B5EF4-FFF2-40B4-BE49-F238E27FC236}">
                <a16:creationId xmlns:a16="http://schemas.microsoft.com/office/drawing/2014/main" id="{B25DE650-E323-3542-BA9A-D9EFDA9B5BD4}"/>
              </a:ext>
            </a:extLst>
          </p:cNvPr>
          <p:cNvSpPr txBox="1"/>
          <p:nvPr/>
        </p:nvSpPr>
        <p:spPr>
          <a:xfrm>
            <a:off x="739941" y="2962414"/>
            <a:ext cx="2521183" cy="565539"/>
          </a:xfrm>
          <a:prstGeom prst="rect">
            <a:avLst/>
          </a:prstGeom>
        </p:spPr>
        <p:txBody>
          <a:bodyPr vert="horz" wrap="square" lIns="0" tIns="194310" rIns="0" bIns="0" rtlCol="0">
            <a:spAutoFit/>
          </a:bodyPr>
          <a:lstStyle/>
          <a:p>
            <a:pPr marL="198755" marR="0" lvl="0" indent="0" defTabSz="914400" rtl="0" eaLnBrk="1" fontAlgn="auto" latinLnBrk="0" hangingPunct="1">
              <a:lnSpc>
                <a:spcPct val="100000"/>
              </a:lnSpc>
              <a:spcBef>
                <a:spcPts val="13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u="none" strike="noStrike" kern="1200" cap="none" normalizeH="0" baseline="0" noProof="0" dirty="0">
                <a:ln>
                  <a:noFill/>
                </a:ln>
                <a:solidFill>
                  <a:srgbClr val="FF6700"/>
                </a:solidFill>
                <a:effectLst/>
                <a:uLnTx/>
                <a:uFillTx/>
                <a:latin typeface="Rotonda Bold" panose="02000803030000020004" pitchFamily="2" charset="0"/>
                <a:cs typeface="Arial Black" panose="020B0604020202020204" pitchFamily="34" charset="0"/>
              </a:rPr>
              <a:t>&gt; </a:t>
            </a:r>
            <a:r>
              <a:rPr kumimoji="0" lang="ru-RU" sz="2400" u="none" strike="noStrike" kern="1200" cap="none" normalizeH="0" baseline="0" noProof="0" dirty="0">
                <a:ln>
                  <a:noFill/>
                </a:ln>
                <a:solidFill>
                  <a:srgbClr val="FF6700"/>
                </a:solidFill>
                <a:effectLst/>
                <a:uLnTx/>
                <a:uFillTx/>
                <a:latin typeface="Rotonda Bold" panose="02000803030000020004" pitchFamily="2" charset="0"/>
                <a:cs typeface="Arial Black" panose="020B0604020202020204" pitchFamily="34" charset="0"/>
              </a:rPr>
              <a:t>10</a:t>
            </a:r>
            <a:r>
              <a:rPr kumimoji="0" lang="en-US" sz="2400" u="none" strike="noStrike" kern="1200" cap="none" normalizeH="0" baseline="0" noProof="0" dirty="0">
                <a:ln>
                  <a:noFill/>
                </a:ln>
                <a:solidFill>
                  <a:srgbClr val="FF6700"/>
                </a:solidFill>
                <a:effectLst/>
                <a:uLnTx/>
                <a:uFillTx/>
                <a:latin typeface="Rotonda Bold" panose="02000803030000020004" pitchFamily="2" charset="0"/>
                <a:cs typeface="Arial Black" panose="020B0604020202020204" pitchFamily="34" charset="0"/>
              </a:rPr>
              <a:t>0 </a:t>
            </a:r>
            <a:r>
              <a:rPr kumimoji="0" lang="ru-RU" sz="2400" u="none" strike="noStrike" kern="1200" cap="none" normalizeH="0" baseline="0" noProof="0" dirty="0">
                <a:ln>
                  <a:noFill/>
                </a:ln>
                <a:solidFill>
                  <a:srgbClr val="FF6700"/>
                </a:solidFill>
                <a:effectLst/>
                <a:uLnTx/>
                <a:uFillTx/>
                <a:latin typeface="Rotonda Bold" panose="02000803030000020004" pitchFamily="2" charset="0"/>
                <a:cs typeface="Arial Black" panose="020B0604020202020204" pitchFamily="34" charset="0"/>
              </a:rPr>
              <a:t>тыс </a:t>
            </a:r>
            <a:endParaRPr kumimoji="0" sz="2400" u="none" strike="noStrike" kern="1200" cap="none" normalizeH="0" baseline="0" noProof="0" dirty="0">
              <a:ln>
                <a:noFill/>
              </a:ln>
              <a:solidFill>
                <a:srgbClr val="FF6700"/>
              </a:solidFill>
              <a:effectLst/>
              <a:uLnTx/>
              <a:uFillTx/>
              <a:latin typeface="Rotonda Bold" panose="02000803030000020004" pitchFamily="2" charset="0"/>
              <a:cs typeface="Arial Black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E09BED17-300C-004C-BA4A-A3D57A7A2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0463" y="1529605"/>
            <a:ext cx="2884687" cy="753994"/>
          </a:xfrm>
        </p:spPr>
        <p:txBody>
          <a:bodyPr>
            <a:noAutofit/>
          </a:bodyPr>
          <a:lstStyle/>
          <a:p>
            <a:r>
              <a:rPr lang="ru-RU" sz="1600" b="1" dirty="0">
                <a:solidFill>
                  <a:srgbClr val="069E2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ервая в России медицинская организация,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CB1E07E-71E3-DA48-943C-5E7EC32F90F7}"/>
              </a:ext>
            </a:extLst>
          </p:cNvPr>
          <p:cNvSpPr/>
          <p:nvPr/>
        </p:nvSpPr>
        <p:spPr>
          <a:xfrm>
            <a:off x="3881480" y="2302340"/>
            <a:ext cx="33126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пустившая собственный проект видео-консультаций с врачами</a:t>
            </a:r>
          </a:p>
        </p:txBody>
      </p:sp>
      <p:sp>
        <p:nvSpPr>
          <p:cNvPr id="10" name="object 24">
            <a:extLst>
              <a:ext uri="{FF2B5EF4-FFF2-40B4-BE49-F238E27FC236}">
                <a16:creationId xmlns:a16="http://schemas.microsoft.com/office/drawing/2014/main" id="{4D6F9529-9F4E-5B43-B5E1-51E88882D11C}"/>
              </a:ext>
            </a:extLst>
          </p:cNvPr>
          <p:cNvSpPr txBox="1"/>
          <p:nvPr/>
        </p:nvSpPr>
        <p:spPr>
          <a:xfrm>
            <a:off x="4233149" y="5195423"/>
            <a:ext cx="1419944" cy="7508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>
              <a:lnSpc>
                <a:spcPct val="120100"/>
              </a:lnSpc>
              <a:spcBef>
                <a:spcPts val="95"/>
              </a:spcBef>
              <a:defRPr/>
            </a:pPr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редняя оценка качества консультаций нашими клиентами</a:t>
            </a:r>
          </a:p>
        </p:txBody>
      </p:sp>
      <p:sp>
        <p:nvSpPr>
          <p:cNvPr id="11" name="object 39">
            <a:extLst>
              <a:ext uri="{FF2B5EF4-FFF2-40B4-BE49-F238E27FC236}">
                <a16:creationId xmlns:a16="http://schemas.microsoft.com/office/drawing/2014/main" id="{A98DB468-3612-2945-A83A-8FBA8A1FA1B5}"/>
              </a:ext>
            </a:extLst>
          </p:cNvPr>
          <p:cNvSpPr txBox="1"/>
          <p:nvPr/>
        </p:nvSpPr>
        <p:spPr>
          <a:xfrm>
            <a:off x="4033403" y="4561549"/>
            <a:ext cx="1048413" cy="565539"/>
          </a:xfrm>
          <a:prstGeom prst="rect">
            <a:avLst/>
          </a:prstGeom>
        </p:spPr>
        <p:txBody>
          <a:bodyPr vert="horz" wrap="square" lIns="0" tIns="194310" rIns="0" bIns="0" rtlCol="0">
            <a:spAutoFit/>
          </a:bodyPr>
          <a:lstStyle/>
          <a:p>
            <a:pPr marL="198755" marR="0" lvl="0" indent="0" defTabSz="914400" rtl="0" eaLnBrk="1" fontAlgn="auto" latinLnBrk="0" hangingPunct="1">
              <a:lnSpc>
                <a:spcPct val="100000"/>
              </a:lnSpc>
              <a:spcBef>
                <a:spcPts val="13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u="none" strike="noStrike" kern="1200" cap="none" normalizeH="0" baseline="0" noProof="0" dirty="0">
                <a:ln>
                  <a:noFill/>
                </a:ln>
                <a:solidFill>
                  <a:srgbClr val="FF6700"/>
                </a:solidFill>
                <a:effectLst/>
                <a:uLnTx/>
                <a:uFillTx/>
                <a:latin typeface="Rotonda Bold" panose="02000803030000020004" pitchFamily="2" charset="0"/>
                <a:cs typeface="Arial Black" panose="020B0604020202020204" pitchFamily="34" charset="0"/>
              </a:rPr>
              <a:t>4,8</a:t>
            </a:r>
          </a:p>
        </p:txBody>
      </p:sp>
      <p:sp>
        <p:nvSpPr>
          <p:cNvPr id="16" name="object 24">
            <a:extLst>
              <a:ext uri="{FF2B5EF4-FFF2-40B4-BE49-F238E27FC236}">
                <a16:creationId xmlns:a16="http://schemas.microsoft.com/office/drawing/2014/main" id="{19A31A0E-34B1-354B-BE30-85C96EA58361}"/>
              </a:ext>
            </a:extLst>
          </p:cNvPr>
          <p:cNvSpPr txBox="1"/>
          <p:nvPr/>
        </p:nvSpPr>
        <p:spPr>
          <a:xfrm>
            <a:off x="1126620" y="5195423"/>
            <a:ext cx="775560" cy="5661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defTabSz="914400" rtl="0" eaLnBrk="1" fontAlgn="auto" latinLnBrk="0" hangingPunct="1">
              <a:lnSpc>
                <a:spcPct val="1201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u="none" strike="noStrike" kern="1200" cap="none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андарт работы сервиса</a:t>
            </a:r>
            <a:endParaRPr kumimoji="0" sz="1000" u="none" strike="noStrike" kern="1200" cap="none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bject 39">
            <a:extLst>
              <a:ext uri="{FF2B5EF4-FFF2-40B4-BE49-F238E27FC236}">
                <a16:creationId xmlns:a16="http://schemas.microsoft.com/office/drawing/2014/main" id="{62B73BAA-A9A8-E949-B1D2-04635C26C425}"/>
              </a:ext>
            </a:extLst>
          </p:cNvPr>
          <p:cNvSpPr txBox="1"/>
          <p:nvPr/>
        </p:nvSpPr>
        <p:spPr>
          <a:xfrm>
            <a:off x="820460" y="4561549"/>
            <a:ext cx="1338197" cy="565539"/>
          </a:xfrm>
          <a:prstGeom prst="rect">
            <a:avLst/>
          </a:prstGeom>
        </p:spPr>
        <p:txBody>
          <a:bodyPr vert="horz" wrap="square" lIns="0" tIns="194310" rIns="0" bIns="0" rtlCol="0">
            <a:spAutoFit/>
          </a:bodyPr>
          <a:lstStyle/>
          <a:p>
            <a:pPr marL="198755" marR="0" lvl="0" indent="0" defTabSz="914400" rtl="0" eaLnBrk="1" fontAlgn="auto" latinLnBrk="0" hangingPunct="1">
              <a:lnSpc>
                <a:spcPct val="100000"/>
              </a:lnSpc>
              <a:spcBef>
                <a:spcPts val="13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solidFill>
                  <a:srgbClr val="FF6700"/>
                </a:solidFill>
                <a:latin typeface="Rotonda Bold" panose="02000803030000020004" pitchFamily="2" charset="0"/>
                <a:cs typeface="Arial Black" panose="020B0604020202020204" pitchFamily="34" charset="0"/>
              </a:rPr>
              <a:t>24х7</a:t>
            </a:r>
            <a:endParaRPr kumimoji="0" sz="2400" u="none" strike="noStrike" kern="1200" cap="none" normalizeH="0" baseline="0" noProof="0" dirty="0">
              <a:ln>
                <a:noFill/>
              </a:ln>
              <a:solidFill>
                <a:srgbClr val="FF6700"/>
              </a:solidFill>
              <a:effectLst/>
              <a:uLnTx/>
              <a:uFillTx/>
              <a:latin typeface="Rotonda Bold" panose="02000803030000020004" pitchFamily="2" charset="0"/>
              <a:cs typeface="Arial Black" panose="020B0604020202020204" pitchFamily="34" charset="0"/>
            </a:endParaRPr>
          </a:p>
        </p:txBody>
      </p:sp>
      <p:sp>
        <p:nvSpPr>
          <p:cNvPr id="18" name="object 24">
            <a:extLst>
              <a:ext uri="{FF2B5EF4-FFF2-40B4-BE49-F238E27FC236}">
                <a16:creationId xmlns:a16="http://schemas.microsoft.com/office/drawing/2014/main" id="{0DBFCE0A-27CE-3A41-86A7-01E820A37B7B}"/>
              </a:ext>
            </a:extLst>
          </p:cNvPr>
          <p:cNvSpPr txBox="1"/>
          <p:nvPr/>
        </p:nvSpPr>
        <p:spPr>
          <a:xfrm>
            <a:off x="1038616" y="3662893"/>
            <a:ext cx="1564552" cy="76371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>
              <a:lnSpc>
                <a:spcPct val="120100"/>
              </a:lnSpc>
              <a:spcBef>
                <a:spcPts val="95"/>
              </a:spcBef>
              <a:defRPr/>
            </a:pPr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лайн консультаций уже проведено в сервисе </a:t>
            </a:r>
          </a:p>
          <a:p>
            <a:pPr marL="12700" marR="5080" lvl="0">
              <a:lnSpc>
                <a:spcPct val="120100"/>
              </a:lnSpc>
              <a:spcBef>
                <a:spcPts val="95"/>
              </a:spcBef>
              <a:defRPr/>
            </a:pPr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ктор рядом</a:t>
            </a:r>
          </a:p>
        </p:txBody>
      </p:sp>
      <p:sp>
        <p:nvSpPr>
          <p:cNvPr id="31" name="object 24">
            <a:extLst>
              <a:ext uri="{FF2B5EF4-FFF2-40B4-BE49-F238E27FC236}">
                <a16:creationId xmlns:a16="http://schemas.microsoft.com/office/drawing/2014/main" id="{4299787F-46A5-4550-BC61-1F418564FFD8}"/>
              </a:ext>
            </a:extLst>
          </p:cNvPr>
          <p:cNvSpPr txBox="1"/>
          <p:nvPr/>
        </p:nvSpPr>
        <p:spPr>
          <a:xfrm>
            <a:off x="4316386" y="3662893"/>
            <a:ext cx="1269220" cy="7508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defPPr>
              <a:defRPr lang="ru-RU"/>
            </a:defPPr>
            <a:lvl1pPr marL="12700" marR="5080" lvl="0">
              <a:lnSpc>
                <a:spcPct val="120100"/>
              </a:lnSpc>
              <a:spcBef>
                <a:spcPts val="95"/>
              </a:spcBef>
              <a:defRPr sz="1400" b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0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льзователей имеет подписку на сервисы Доктор рядом</a:t>
            </a:r>
          </a:p>
        </p:txBody>
      </p:sp>
      <p:sp>
        <p:nvSpPr>
          <p:cNvPr id="32" name="object 39">
            <a:extLst>
              <a:ext uri="{FF2B5EF4-FFF2-40B4-BE49-F238E27FC236}">
                <a16:creationId xmlns:a16="http://schemas.microsoft.com/office/drawing/2014/main" id="{4640070D-F34D-4509-99FA-F26B11606934}"/>
              </a:ext>
            </a:extLst>
          </p:cNvPr>
          <p:cNvSpPr txBox="1"/>
          <p:nvPr/>
        </p:nvSpPr>
        <p:spPr>
          <a:xfrm>
            <a:off x="3965767" y="2962414"/>
            <a:ext cx="2221539" cy="565539"/>
          </a:xfrm>
          <a:prstGeom prst="rect">
            <a:avLst/>
          </a:prstGeom>
        </p:spPr>
        <p:txBody>
          <a:bodyPr vert="horz" wrap="square" lIns="0" tIns="194310" rIns="0" bIns="0" rtlCol="0">
            <a:spAutoFit/>
          </a:bodyPr>
          <a:lstStyle/>
          <a:p>
            <a:pPr marL="198755" marR="0" lvl="0" indent="0" defTabSz="914400" rtl="0" eaLnBrk="1" fontAlgn="auto" latinLnBrk="0" hangingPunct="1">
              <a:lnSpc>
                <a:spcPct val="100000"/>
              </a:lnSpc>
              <a:spcBef>
                <a:spcPts val="13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u="none" strike="noStrike" kern="1200" cap="none" normalizeH="0" baseline="0" noProof="0" dirty="0">
                <a:ln>
                  <a:noFill/>
                </a:ln>
                <a:solidFill>
                  <a:srgbClr val="FF6700"/>
                </a:solidFill>
                <a:effectLst/>
                <a:uLnTx/>
                <a:uFillTx/>
                <a:latin typeface="Rotonda Bold" panose="02000803030000020004" pitchFamily="2" charset="0"/>
                <a:cs typeface="Arial Black" panose="020B0604020202020204" pitchFamily="34" charset="0"/>
              </a:rPr>
              <a:t>&gt; </a:t>
            </a:r>
            <a:r>
              <a:rPr kumimoji="0" lang="ru-RU" sz="2400" u="none" strike="noStrike" kern="1200" cap="none" normalizeH="0" baseline="0" noProof="0" dirty="0">
                <a:ln>
                  <a:noFill/>
                </a:ln>
                <a:solidFill>
                  <a:srgbClr val="FF6700"/>
                </a:solidFill>
                <a:effectLst/>
                <a:uLnTx/>
                <a:uFillTx/>
                <a:latin typeface="Rotonda Bold" panose="02000803030000020004" pitchFamily="2" charset="0"/>
                <a:cs typeface="Arial Black" panose="020B0604020202020204" pitchFamily="34" charset="0"/>
              </a:rPr>
              <a:t>5,</a:t>
            </a:r>
            <a:r>
              <a:rPr kumimoji="0" lang="en-US" sz="2400" u="none" strike="noStrike" kern="1200" cap="none" normalizeH="0" baseline="0" noProof="0" dirty="0">
                <a:ln>
                  <a:noFill/>
                </a:ln>
                <a:solidFill>
                  <a:srgbClr val="FF6700"/>
                </a:solidFill>
                <a:effectLst/>
                <a:uLnTx/>
                <a:uFillTx/>
                <a:latin typeface="Rotonda Bold" panose="02000803030000020004" pitchFamily="2" charset="0"/>
                <a:cs typeface="Arial Black" panose="020B0604020202020204" pitchFamily="34" charset="0"/>
              </a:rPr>
              <a:t>4</a:t>
            </a:r>
            <a:r>
              <a:rPr kumimoji="0" lang="ru-RU" sz="2400" u="none" strike="noStrike" kern="1200" cap="none" normalizeH="0" baseline="0" noProof="0" dirty="0">
                <a:ln>
                  <a:noFill/>
                </a:ln>
                <a:solidFill>
                  <a:srgbClr val="FF6700"/>
                </a:solidFill>
                <a:effectLst/>
                <a:uLnTx/>
                <a:uFillTx/>
                <a:latin typeface="Rotonda Bold" panose="02000803030000020004" pitchFamily="2" charset="0"/>
                <a:cs typeface="Arial Black" panose="020B0604020202020204" pitchFamily="34" charset="0"/>
              </a:rPr>
              <a:t> млн</a:t>
            </a:r>
            <a:r>
              <a:rPr kumimoji="0" lang="en-US" sz="2400" u="none" strike="noStrike" kern="1200" cap="none" normalizeH="0" baseline="0" noProof="0" dirty="0">
                <a:ln>
                  <a:noFill/>
                </a:ln>
                <a:solidFill>
                  <a:srgbClr val="FF6700"/>
                </a:solidFill>
                <a:effectLst/>
                <a:uLnTx/>
                <a:uFillTx/>
                <a:latin typeface="Rotonda Bold" panose="02000803030000020004" pitchFamily="2" charset="0"/>
                <a:cs typeface="Arial Black" panose="020B0604020202020204" pitchFamily="34" charset="0"/>
              </a:rPr>
              <a:t> </a:t>
            </a:r>
            <a:endParaRPr kumimoji="0" sz="2400" u="none" strike="noStrike" kern="1200" cap="none" normalizeH="0" baseline="0" noProof="0" dirty="0">
              <a:ln>
                <a:noFill/>
              </a:ln>
              <a:solidFill>
                <a:srgbClr val="FF6700"/>
              </a:solidFill>
              <a:effectLst/>
              <a:uLnTx/>
              <a:uFillTx/>
              <a:latin typeface="Rotonda Bold" panose="02000803030000020004" pitchFamily="2" charset="0"/>
              <a:cs typeface="Arial Black" panose="020B060402020202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B0E3527-F6BF-456E-9233-39FA0F76007F}"/>
              </a:ext>
            </a:extLst>
          </p:cNvPr>
          <p:cNvSpPr/>
          <p:nvPr/>
        </p:nvSpPr>
        <p:spPr>
          <a:xfrm>
            <a:off x="820460" y="1491353"/>
            <a:ext cx="228520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69E2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Лидер рынка телемедицинских услуг в Рос</a:t>
            </a:r>
            <a:r>
              <a:rPr lang="en-US" sz="1600" b="1" dirty="0">
                <a:solidFill>
                  <a:srgbClr val="069E2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</a:t>
            </a:r>
            <a:r>
              <a:rPr lang="ru-RU" sz="1600" b="1" dirty="0">
                <a:solidFill>
                  <a:srgbClr val="069E2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и</a:t>
            </a:r>
            <a:endParaRPr lang="ru-RU" sz="2000" dirty="0">
              <a:solidFill>
                <a:srgbClr val="069E2D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1DE493EB-2A3C-4EB7-BBB0-5281458352F6}"/>
              </a:ext>
            </a:extLst>
          </p:cNvPr>
          <p:cNvSpPr/>
          <p:nvPr/>
        </p:nvSpPr>
        <p:spPr>
          <a:xfrm>
            <a:off x="187214" y="6337267"/>
            <a:ext cx="55272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 flipV="1">
            <a:off x="925428" y="3662893"/>
            <a:ext cx="0" cy="750847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 flipV="1">
            <a:off x="4141139" y="3662893"/>
            <a:ext cx="0" cy="750847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987617" y="5195423"/>
            <a:ext cx="0" cy="750847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 flipV="1">
            <a:off x="4129275" y="5195423"/>
            <a:ext cx="0" cy="750847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677" name="Picture 5" descr="https://sgkhaberajansi.com/wp-content/uploads/2018/04/ozel-hastane-ucretleri-tarihe-karisiyor.jpg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42" r="50430"/>
          <a:stretch/>
        </p:blipFill>
        <p:spPr bwMode="auto">
          <a:xfrm>
            <a:off x="8001000" y="0"/>
            <a:ext cx="419753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7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1DE493EB-2A3C-4EB7-BBB0-5281458352F6}"/>
              </a:ext>
            </a:extLst>
          </p:cNvPr>
          <p:cNvSpPr/>
          <p:nvPr/>
        </p:nvSpPr>
        <p:spPr>
          <a:xfrm>
            <a:off x="187214" y="6337267"/>
            <a:ext cx="55272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6" name="Picture 2" descr="Картинки по запросу &quot;вэб.рф&quot;">
            <a:extLst>
              <a:ext uri="{FF2B5EF4-FFF2-40B4-BE49-F238E27FC236}">
                <a16:creationId xmlns:a16="http://schemas.microsoft.com/office/drawing/2014/main" id="{0D3655DA-F243-4563-A1E5-F64D5686C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7026" y="1075021"/>
            <a:ext cx="2086080" cy="1625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16" descr="Изображение выглядит как рисунок, знак&#10;&#10;Автоматически созданное описание">
            <a:extLst>
              <a:ext uri="{FF2B5EF4-FFF2-40B4-BE49-F238E27FC236}">
                <a16:creationId xmlns:a16="http://schemas.microsoft.com/office/drawing/2014/main" id="{03892B1A-C085-42F3-BF53-305029EB0DD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36" t="22688" r="58117" b="21496"/>
          <a:stretch/>
        </p:blipFill>
        <p:spPr>
          <a:xfrm>
            <a:off x="2790825" y="834398"/>
            <a:ext cx="1896783" cy="1952028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47F159D-9FBE-45DE-ABD8-C6980AC973ED}"/>
              </a:ext>
            </a:extLst>
          </p:cNvPr>
          <p:cNvSpPr/>
          <p:nvPr/>
        </p:nvSpPr>
        <p:spPr>
          <a:xfrm>
            <a:off x="2790825" y="3462635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2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оставляют</a:t>
            </a:r>
            <a:endParaRPr lang="ru-RU" sz="2000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04FCB94-2875-4657-8046-744B4FD981D2}"/>
              </a:ext>
            </a:extLst>
          </p:cNvPr>
          <p:cNvSpPr/>
          <p:nvPr/>
        </p:nvSpPr>
        <p:spPr>
          <a:xfrm>
            <a:off x="1219200" y="4603445"/>
            <a:ext cx="10382250" cy="1051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2000" b="1" dirty="0">
                <a:solidFill>
                  <a:srgbClr val="FF670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БЕСПЛАТНЫЕ</a:t>
            </a:r>
            <a:r>
              <a:rPr lang="ru-RU" sz="2000" b="1" dirty="0">
                <a:solidFill>
                  <a:srgbClr val="314452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ДИСТАНЦИОННЫЕ МЕДИЦИНСКИЕ КОНСУЛЬТАЦИИ С ТЕРАВТАМИ, ПЕДИАТРАМИ И ВРАЧАМИ </a:t>
            </a:r>
            <a:r>
              <a:rPr lang="ru-RU" sz="2000" b="1" dirty="0">
                <a:solidFill>
                  <a:srgbClr val="FF670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КЛЮЧЕВЫХ </a:t>
            </a:r>
            <a:r>
              <a:rPr lang="ru-RU" sz="2000" b="1" dirty="0">
                <a:solidFill>
                  <a:srgbClr val="314452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УЗКИХ</a:t>
            </a:r>
            <a:r>
              <a:rPr lang="ru-RU" sz="2000" b="1" dirty="0">
                <a:solidFill>
                  <a:srgbClr val="FF670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СПЕЦИАЛЬНОСТЕЙ</a:t>
            </a:r>
          </a:p>
        </p:txBody>
      </p:sp>
    </p:spTree>
    <p:extLst>
      <p:ext uri="{BB962C8B-B14F-4D97-AF65-F5344CB8AC3E}">
        <p14:creationId xmlns:p14="http://schemas.microsoft.com/office/powerpoint/2010/main" val="29008793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7E99D7A4-2D7E-5D42-B5FD-1285C49EBF0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305696">
            <a:off x="4313178" y="903718"/>
            <a:ext cx="5483544" cy="6393096"/>
          </a:xfrm>
          <a:prstGeom prst="rect">
            <a:avLst/>
          </a:prstGeom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9D939B42-9878-2540-8E1F-BCC8C278A207}"/>
              </a:ext>
            </a:extLst>
          </p:cNvPr>
          <p:cNvSpPr/>
          <p:nvPr/>
        </p:nvSpPr>
        <p:spPr>
          <a:xfrm>
            <a:off x="1217650" y="1144941"/>
            <a:ext cx="366461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spc="120" dirty="0">
                <a:solidFill>
                  <a:srgbClr val="069E2D"/>
                </a:solidFill>
                <a:latin typeface="Rotonda Bold" panose="02000803030000020004" pitchFamily="2" charset="0"/>
                <a:cs typeface="Arial Black" panose="020B0604020202020204" pitchFamily="34" charset="0"/>
              </a:rPr>
              <a:t>ВСЕ ВОЗМОЖНОСТИ ПРЕДОСТАЛЯЮТСЯ </a:t>
            </a:r>
            <a:r>
              <a:rPr lang="ru-RU" sz="1600" b="1" spc="120" dirty="0">
                <a:solidFill>
                  <a:srgbClr val="069E2D"/>
                </a:solidFill>
                <a:latin typeface="Rotonda Bold" panose="02000803030000020004" pitchFamily="2" charset="0"/>
                <a:cs typeface="Arial Black" panose="020B0604020202020204" pitchFamily="34" charset="0"/>
              </a:rPr>
              <a:t>БЕСПЛАТНО</a:t>
            </a:r>
            <a:r>
              <a:rPr lang="ru-RU" sz="1600" spc="120" dirty="0">
                <a:solidFill>
                  <a:srgbClr val="069E2D"/>
                </a:solidFill>
                <a:latin typeface="Rotonda Bold" panose="02000803030000020004" pitchFamily="2" charset="0"/>
                <a:cs typeface="Arial Black" panose="020B0604020202020204" pitchFamily="34" charset="0"/>
              </a:rPr>
              <a:t>:</a:t>
            </a:r>
          </a:p>
        </p:txBody>
      </p:sp>
      <p:cxnSp>
        <p:nvCxnSpPr>
          <p:cNvPr id="26" name="Straight Connector 28">
            <a:extLst>
              <a:ext uri="{FF2B5EF4-FFF2-40B4-BE49-F238E27FC236}">
                <a16:creationId xmlns:a16="http://schemas.microsoft.com/office/drawing/2014/main" id="{E9474DF6-F32C-8441-A245-7200749DD7FD}"/>
              </a:ext>
            </a:extLst>
          </p:cNvPr>
          <p:cNvCxnSpPr>
            <a:cxnSpLocks/>
            <a:stCxn id="34" idx="4"/>
            <a:endCxn id="45" idx="0"/>
          </p:cNvCxnSpPr>
          <p:nvPr/>
        </p:nvCxnSpPr>
        <p:spPr>
          <a:xfrm>
            <a:off x="1394099" y="4800194"/>
            <a:ext cx="0" cy="284019"/>
          </a:xfrm>
          <a:prstGeom prst="line">
            <a:avLst/>
          </a:prstGeom>
          <a:ln w="28575" cap="rnd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186AFF09-B807-5243-B954-98B364CDC728}"/>
              </a:ext>
            </a:extLst>
          </p:cNvPr>
          <p:cNvSpPr/>
          <p:nvPr/>
        </p:nvSpPr>
        <p:spPr>
          <a:xfrm>
            <a:off x="1661204" y="1789060"/>
            <a:ext cx="329914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нсультируем по вопросам коронавируса</a:t>
            </a:r>
            <a:endParaRPr lang="en-GB" sz="1000" dirty="0">
              <a:solidFill>
                <a:schemeClr val="tx1">
                  <a:lumMod val="75000"/>
                  <a:lumOff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 любым вопросам, связанным со здоровьем, включая профилактику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C6E6DA39-1CD9-3C4F-9637-0D93594432FF}"/>
              </a:ext>
            </a:extLst>
          </p:cNvPr>
          <p:cNvSpPr/>
          <p:nvPr/>
        </p:nvSpPr>
        <p:spPr>
          <a:xfrm>
            <a:off x="1661204" y="2491872"/>
            <a:ext cx="24415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ступ к терапевтам и педиатрам в режиме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nline</a:t>
            </a:r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4/7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AF931BDB-1322-804C-BFAA-272861BDCD64}"/>
              </a:ext>
            </a:extLst>
          </p:cNvPr>
          <p:cNvSpPr/>
          <p:nvPr/>
        </p:nvSpPr>
        <p:spPr>
          <a:xfrm>
            <a:off x="1661204" y="3128179"/>
            <a:ext cx="27882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ступ к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OP10 </a:t>
            </a:r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зким специальностям врачей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предварительной записи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50222EB7-92F8-564C-A3BE-F851AC237C5B}"/>
              </a:ext>
            </a:extLst>
          </p:cNvPr>
          <p:cNvSpPr/>
          <p:nvPr/>
        </p:nvSpPr>
        <p:spPr>
          <a:xfrm>
            <a:off x="1661204" y="3710834"/>
            <a:ext cx="295333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зможность приложить любые медицинские документы к консультации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9E675BC-45D9-4F48-9797-52C3574B22E7}"/>
              </a:ext>
            </a:extLst>
          </p:cNvPr>
          <p:cNvSpPr/>
          <p:nvPr/>
        </p:nvSpPr>
        <p:spPr>
          <a:xfrm>
            <a:off x="9334712" y="1133661"/>
            <a:ext cx="249034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spc="120" dirty="0">
                <a:solidFill>
                  <a:srgbClr val="069E2D"/>
                </a:solidFill>
                <a:latin typeface="Rotonda Bold" panose="02000803030000020004" pitchFamily="2" charset="0"/>
                <a:cs typeface="Arial Black" panose="020B0604020202020204" pitchFamily="34" charset="0"/>
              </a:rPr>
              <a:t>СПЕЦИАЛЬНОСТИ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B0985ECA-BA76-4273-A996-EB93ADBA69B8}"/>
              </a:ext>
            </a:extLst>
          </p:cNvPr>
          <p:cNvSpPr/>
          <p:nvPr/>
        </p:nvSpPr>
        <p:spPr>
          <a:xfrm>
            <a:off x="9346114" y="1617638"/>
            <a:ext cx="2812985" cy="3105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FF6700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П/терапевт</a:t>
            </a:r>
          </a:p>
          <a:p>
            <a:pPr marL="171450" indent="-171450">
              <a:lnSpc>
                <a:spcPct val="150000"/>
              </a:lnSpc>
              <a:buClr>
                <a:srgbClr val="FF6700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едиатр</a:t>
            </a:r>
          </a:p>
          <a:p>
            <a:pPr marL="171450" indent="-171450">
              <a:lnSpc>
                <a:spcPct val="150000"/>
              </a:lnSpc>
              <a:buClr>
                <a:srgbClr val="FF6700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инеколог</a:t>
            </a:r>
          </a:p>
          <a:p>
            <a:pPr marL="171450" indent="-171450">
              <a:lnSpc>
                <a:spcPct val="150000"/>
              </a:lnSpc>
              <a:buClr>
                <a:srgbClr val="FF6700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астроэнтеролог</a:t>
            </a:r>
          </a:p>
          <a:p>
            <a:pPr marL="171450" indent="-171450">
              <a:lnSpc>
                <a:spcPct val="150000"/>
              </a:lnSpc>
              <a:buClr>
                <a:srgbClr val="FF6700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рматолог</a:t>
            </a:r>
          </a:p>
          <a:p>
            <a:pPr marL="171450" indent="-171450">
              <a:lnSpc>
                <a:spcPct val="150000"/>
              </a:lnSpc>
              <a:buClr>
                <a:srgbClr val="FF6700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вролог</a:t>
            </a:r>
          </a:p>
          <a:p>
            <a:pPr marL="171450" indent="-171450">
              <a:lnSpc>
                <a:spcPct val="150000"/>
              </a:lnSpc>
              <a:buClr>
                <a:srgbClr val="FF6700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ндокринолог</a:t>
            </a:r>
          </a:p>
          <a:p>
            <a:pPr marL="171450" indent="-171450">
              <a:lnSpc>
                <a:spcPct val="150000"/>
              </a:lnSpc>
              <a:buClr>
                <a:srgbClr val="FF6700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ЛОР</a:t>
            </a:r>
          </a:p>
          <a:p>
            <a:pPr marL="171450" indent="-171450">
              <a:lnSpc>
                <a:spcPct val="150000"/>
              </a:lnSpc>
              <a:buClr>
                <a:srgbClr val="FF6700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ролог</a:t>
            </a:r>
          </a:p>
          <a:p>
            <a:pPr marL="171450" indent="-171450">
              <a:lnSpc>
                <a:spcPct val="150000"/>
              </a:lnSpc>
              <a:buClr>
                <a:srgbClr val="FF6700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лерголог-иммунолог</a:t>
            </a:r>
          </a:p>
          <a:p>
            <a:pPr marL="171450" indent="-171450">
              <a:lnSpc>
                <a:spcPct val="150000"/>
              </a:lnSpc>
              <a:buClr>
                <a:srgbClr val="FF6700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равматолог-ортопед</a:t>
            </a:r>
          </a:p>
          <a:p>
            <a:pPr marL="171450" indent="-171450">
              <a:lnSpc>
                <a:spcPct val="150000"/>
              </a:lnSpc>
              <a:buClr>
                <a:srgbClr val="FF6700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рдиолог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650438" y="4960540"/>
            <a:ext cx="2799041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ысокотехнологичная инфраструктура (моб. приложение,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web </a:t>
            </a:r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тформа, </a:t>
            </a:r>
          </a:p>
          <a:p>
            <a:r>
              <a:rPr lang="ru-RU" sz="1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ед</a:t>
            </a:r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номер) дающая доступ к продукту гражданам из любого уголка страны</a:t>
            </a:r>
          </a:p>
        </p:txBody>
      </p:sp>
      <p:sp>
        <p:nvSpPr>
          <p:cNvPr id="45" name="Овал 44">
            <a:extLst>
              <a:ext uri="{FF2B5EF4-FFF2-40B4-BE49-F238E27FC236}">
                <a16:creationId xmlns:a16="http://schemas.microsoft.com/office/drawing/2014/main" id="{30594E83-C976-A348-BAE1-E87EED90F4E3}"/>
              </a:ext>
            </a:extLst>
          </p:cNvPr>
          <p:cNvSpPr/>
          <p:nvPr/>
        </p:nvSpPr>
        <p:spPr>
          <a:xfrm>
            <a:off x="1194044" y="5084213"/>
            <a:ext cx="400110" cy="400110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solidFill>
              <a:srgbClr val="FF6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FF6700"/>
                </a:solidFill>
                <a:latin typeface="Rotonda Bold" panose="02000803030000020004" pitchFamily="2" charset="0"/>
                <a:cs typeface="Arial" panose="020B0604020202020204" pitchFamily="34" charset="0"/>
              </a:rPr>
              <a:t>6</a:t>
            </a:r>
          </a:p>
        </p:txBody>
      </p:sp>
      <p:cxnSp>
        <p:nvCxnSpPr>
          <p:cNvPr id="48" name="Straight Connector 28">
            <a:extLst>
              <a:ext uri="{FF2B5EF4-FFF2-40B4-BE49-F238E27FC236}">
                <a16:creationId xmlns:a16="http://schemas.microsoft.com/office/drawing/2014/main" id="{3805C1A0-CE3B-764A-8846-AA42BB08570F}"/>
              </a:ext>
            </a:extLst>
          </p:cNvPr>
          <p:cNvCxnSpPr>
            <a:cxnSpLocks/>
            <a:stCxn id="41" idx="4"/>
            <a:endCxn id="43" idx="0"/>
          </p:cNvCxnSpPr>
          <p:nvPr/>
        </p:nvCxnSpPr>
        <p:spPr>
          <a:xfrm>
            <a:off x="1394099" y="3534109"/>
            <a:ext cx="0" cy="244585"/>
          </a:xfrm>
          <a:prstGeom prst="line">
            <a:avLst/>
          </a:prstGeom>
          <a:ln w="28575" cap="rnd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28">
            <a:extLst>
              <a:ext uri="{FF2B5EF4-FFF2-40B4-BE49-F238E27FC236}">
                <a16:creationId xmlns:a16="http://schemas.microsoft.com/office/drawing/2014/main" id="{7487BF28-32BF-594C-A1E8-E9CEF674DD8C}"/>
              </a:ext>
            </a:extLst>
          </p:cNvPr>
          <p:cNvCxnSpPr>
            <a:cxnSpLocks/>
            <a:stCxn id="40" idx="4"/>
            <a:endCxn id="41" idx="0"/>
          </p:cNvCxnSpPr>
          <p:nvPr/>
        </p:nvCxnSpPr>
        <p:spPr>
          <a:xfrm>
            <a:off x="1394099" y="2889414"/>
            <a:ext cx="0" cy="244585"/>
          </a:xfrm>
          <a:prstGeom prst="line">
            <a:avLst/>
          </a:prstGeom>
          <a:ln w="28575" cap="rnd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28">
            <a:extLst>
              <a:ext uri="{FF2B5EF4-FFF2-40B4-BE49-F238E27FC236}">
                <a16:creationId xmlns:a16="http://schemas.microsoft.com/office/drawing/2014/main" id="{F30851FB-A660-644B-9F15-09F47D3D108E}"/>
              </a:ext>
            </a:extLst>
          </p:cNvPr>
          <p:cNvCxnSpPr>
            <a:cxnSpLocks/>
            <a:stCxn id="3" idx="4"/>
            <a:endCxn id="40" idx="0"/>
          </p:cNvCxnSpPr>
          <p:nvPr/>
        </p:nvCxnSpPr>
        <p:spPr>
          <a:xfrm>
            <a:off x="1394099" y="2251895"/>
            <a:ext cx="0" cy="237409"/>
          </a:xfrm>
          <a:prstGeom prst="line">
            <a:avLst/>
          </a:prstGeom>
          <a:ln w="28575" cap="rnd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A39202FE-E90F-B746-A450-A47F104EA9B1}"/>
              </a:ext>
            </a:extLst>
          </p:cNvPr>
          <p:cNvSpPr/>
          <p:nvPr/>
        </p:nvSpPr>
        <p:spPr>
          <a:xfrm>
            <a:off x="1661204" y="4335687"/>
            <a:ext cx="295333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ступ к заключениям и рекомендациям врачей из телефона и компьютера</a:t>
            </a:r>
          </a:p>
        </p:txBody>
      </p:sp>
      <p:cxnSp>
        <p:nvCxnSpPr>
          <p:cNvPr id="39" name="Straight Connector 28">
            <a:extLst>
              <a:ext uri="{FF2B5EF4-FFF2-40B4-BE49-F238E27FC236}">
                <a16:creationId xmlns:a16="http://schemas.microsoft.com/office/drawing/2014/main" id="{EC8ECF18-927E-B04A-83E6-BF2995D773C7}"/>
              </a:ext>
            </a:extLst>
          </p:cNvPr>
          <p:cNvCxnSpPr>
            <a:cxnSpLocks/>
            <a:stCxn id="43" idx="4"/>
            <a:endCxn id="34" idx="0"/>
          </p:cNvCxnSpPr>
          <p:nvPr/>
        </p:nvCxnSpPr>
        <p:spPr>
          <a:xfrm>
            <a:off x="1394099" y="4178804"/>
            <a:ext cx="0" cy="221280"/>
          </a:xfrm>
          <a:prstGeom prst="line">
            <a:avLst/>
          </a:prstGeom>
          <a:ln w="28575" cap="rnd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0F975B94-E97D-4E3E-ABD0-027C211DC7A9}"/>
              </a:ext>
            </a:extLst>
          </p:cNvPr>
          <p:cNvSpPr txBox="1"/>
          <p:nvPr/>
        </p:nvSpPr>
        <p:spPr>
          <a:xfrm>
            <a:off x="2083382" y="395647"/>
            <a:ext cx="47205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800" spc="120" dirty="0">
                <a:solidFill>
                  <a:srgbClr val="314452"/>
                </a:solidFill>
                <a:latin typeface="Rotonda Bold" panose="02000803030000020004" pitchFamily="2" charset="0"/>
                <a:ea typeface="Montserrat" charset="0"/>
                <a:cs typeface="Arial Black" panose="020B0604020202020204" pitchFamily="34" charset="0"/>
              </a:rPr>
              <a:t>ОПИСАНИЕ РЕШЕНИЯ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E9E675BC-45D9-4F48-9797-52C3574B22E7}"/>
              </a:ext>
            </a:extLst>
          </p:cNvPr>
          <p:cNvSpPr/>
          <p:nvPr/>
        </p:nvSpPr>
        <p:spPr>
          <a:xfrm>
            <a:off x="9379473" y="4942120"/>
            <a:ext cx="219856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dirty="0">
                <a:solidFill>
                  <a:srgbClr val="069E2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нный список специальностей закрывает более 97% всех обращений*</a:t>
            </a:r>
          </a:p>
        </p:txBody>
      </p:sp>
      <p:sp>
        <p:nvSpPr>
          <p:cNvPr id="40" name="Овал 39">
            <a:extLst>
              <a:ext uri="{FF2B5EF4-FFF2-40B4-BE49-F238E27FC236}">
                <a16:creationId xmlns:a16="http://schemas.microsoft.com/office/drawing/2014/main" id="{DB362DC4-1D90-A645-A948-016BAEEB23F0}"/>
              </a:ext>
            </a:extLst>
          </p:cNvPr>
          <p:cNvSpPr/>
          <p:nvPr/>
        </p:nvSpPr>
        <p:spPr>
          <a:xfrm>
            <a:off x="1194044" y="2489304"/>
            <a:ext cx="400110" cy="400110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1" name="Овал 40">
            <a:extLst>
              <a:ext uri="{FF2B5EF4-FFF2-40B4-BE49-F238E27FC236}">
                <a16:creationId xmlns:a16="http://schemas.microsoft.com/office/drawing/2014/main" id="{39DCA564-3D7B-BC41-B244-0A46CBBE38CB}"/>
              </a:ext>
            </a:extLst>
          </p:cNvPr>
          <p:cNvSpPr/>
          <p:nvPr/>
        </p:nvSpPr>
        <p:spPr>
          <a:xfrm>
            <a:off x="1194044" y="3133999"/>
            <a:ext cx="400110" cy="400110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3" name="Овал 42">
            <a:extLst>
              <a:ext uri="{FF2B5EF4-FFF2-40B4-BE49-F238E27FC236}">
                <a16:creationId xmlns:a16="http://schemas.microsoft.com/office/drawing/2014/main" id="{F181DD76-0792-9444-A3B5-FFC84592E5A9}"/>
              </a:ext>
            </a:extLst>
          </p:cNvPr>
          <p:cNvSpPr/>
          <p:nvPr/>
        </p:nvSpPr>
        <p:spPr>
          <a:xfrm>
            <a:off x="1194044" y="3778694"/>
            <a:ext cx="400110" cy="400110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423DA99B-E99B-534B-A8CD-03B1CCFD0BEC}"/>
              </a:ext>
            </a:extLst>
          </p:cNvPr>
          <p:cNvSpPr/>
          <p:nvPr/>
        </p:nvSpPr>
        <p:spPr>
          <a:xfrm>
            <a:off x="1194044" y="1851785"/>
            <a:ext cx="400110" cy="400110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E2B8549F-DE71-A34D-A6EC-009D13BDFD1C}"/>
              </a:ext>
            </a:extLst>
          </p:cNvPr>
          <p:cNvSpPr/>
          <p:nvPr/>
        </p:nvSpPr>
        <p:spPr>
          <a:xfrm>
            <a:off x="1194044" y="4400084"/>
            <a:ext cx="400110" cy="400110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1DE493EB-2A3C-4EB7-BBB0-5281458352F6}"/>
              </a:ext>
            </a:extLst>
          </p:cNvPr>
          <p:cNvSpPr/>
          <p:nvPr/>
        </p:nvSpPr>
        <p:spPr>
          <a:xfrm>
            <a:off x="187214" y="6337267"/>
            <a:ext cx="55272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1" name="Picture 2" descr="Картинки по запросу &quot;вэб.рф&quot;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3804" y="453272"/>
            <a:ext cx="557359" cy="434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Рисунок 31" descr="Изображение выглядит как рисунок, знак&#10;&#10;Автоматически созданное описание">
            <a:extLst>
              <a:ext uri="{FF2B5EF4-FFF2-40B4-BE49-F238E27FC236}">
                <a16:creationId xmlns:a16="http://schemas.microsoft.com/office/drawing/2014/main" id="{30ACFA06-77ED-48C9-A32A-CF65EEF4994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36" t="22688" r="58117" b="21496"/>
          <a:stretch/>
        </p:blipFill>
        <p:spPr>
          <a:xfrm>
            <a:off x="477749" y="395647"/>
            <a:ext cx="553947" cy="57008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ED86C0C-2FD0-49EF-997C-251AECD455AC}"/>
              </a:ext>
            </a:extLst>
          </p:cNvPr>
          <p:cNvSpPr txBox="1"/>
          <p:nvPr/>
        </p:nvSpPr>
        <p:spPr>
          <a:xfrm>
            <a:off x="9379473" y="6442502"/>
            <a:ext cx="251371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 - по внутренней статистике платформы Доктор рядом</a:t>
            </a:r>
          </a:p>
        </p:txBody>
      </p:sp>
    </p:spTree>
    <p:extLst>
      <p:ext uri="{BB962C8B-B14F-4D97-AF65-F5344CB8AC3E}">
        <p14:creationId xmlns:p14="http://schemas.microsoft.com/office/powerpoint/2010/main" val="30545281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/>
          <p:cNvGrpSpPr/>
          <p:nvPr/>
        </p:nvGrpSpPr>
        <p:grpSpPr>
          <a:xfrm flipH="1">
            <a:off x="0" y="-40430"/>
            <a:ext cx="12192342" cy="6898431"/>
            <a:chOff x="0" y="0"/>
            <a:chExt cx="11484347" cy="6497847"/>
          </a:xfrm>
        </p:grpSpPr>
        <p:pic>
          <p:nvPicPr>
            <p:cNvPr id="39" name="Рисунок 38">
              <a:extLst>
                <a:ext uri="{FF2B5EF4-FFF2-40B4-BE49-F238E27FC236}">
                  <a16:creationId xmlns:a16="http://schemas.microsoft.com/office/drawing/2014/main" id="{BDE9188B-C367-C142-9DDB-E0E4899656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48" t="40365" r="41470" b="3206"/>
            <a:stretch/>
          </p:blipFill>
          <p:spPr>
            <a:xfrm flipH="1">
              <a:off x="0" y="0"/>
              <a:ext cx="9760010" cy="6489233"/>
            </a:xfrm>
            <a:prstGeom prst="rect">
              <a:avLst/>
            </a:prstGeom>
          </p:spPr>
        </p:pic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371CFAB3-9F13-764C-9F31-23D612D624AC}"/>
                </a:ext>
              </a:extLst>
            </p:cNvPr>
            <p:cNvSpPr/>
            <p:nvPr/>
          </p:nvSpPr>
          <p:spPr>
            <a:xfrm flipH="1">
              <a:off x="4175825" y="1"/>
              <a:ext cx="7308522" cy="6497846"/>
            </a:xfrm>
            <a:prstGeom prst="rect">
              <a:avLst/>
            </a:prstGeom>
            <a:gradFill>
              <a:gsLst>
                <a:gs pos="39000">
                  <a:srgbClr val="F6F7F8"/>
                </a:gs>
                <a:gs pos="78000">
                  <a:srgbClr val="F6F7F8">
                    <a:alpha val="68000"/>
                  </a:srgbClr>
                </a:gs>
                <a:gs pos="98000">
                  <a:srgbClr val="FBFBFC">
                    <a:alpha val="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7" name="Рисунок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47402" y="3722787"/>
            <a:ext cx="738197" cy="738400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31697" y="2198643"/>
            <a:ext cx="738197" cy="738400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22533" y="5300565"/>
            <a:ext cx="738197" cy="738400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44608" y="2204873"/>
            <a:ext cx="738197" cy="738400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744608" y="5300565"/>
            <a:ext cx="738197" cy="738400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739875" y="3722787"/>
            <a:ext cx="747661" cy="738400"/>
          </a:xfrm>
          <a:prstGeom prst="rect">
            <a:avLst/>
          </a:prstGeom>
        </p:spPr>
      </p:pic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6B68A2F1-01EF-4189-9E72-F1D39ED59E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6" name="Слайд think-cell" r:id="rId14" imgW="347" imgH="348" progId="TCLayout.ActiveDocument.1">
                  <p:embed/>
                </p:oleObj>
              </mc:Choice>
              <mc:Fallback>
                <p:oleObj name="Слайд think-cell" r:id="rId14" imgW="347" imgH="348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6B68A2F1-01EF-4189-9E72-F1D39ED59E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2D6816DE-666D-4A29-8D0E-20EC69057CF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75EB9892-E0A3-4637-AD36-CBE26B11ABF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400" dirty="0">
              <a:sym typeface="+mn-lt"/>
            </a:endParaRPr>
          </a:p>
        </p:txBody>
      </p:sp>
      <p:sp>
        <p:nvSpPr>
          <p:cNvPr id="18" name="object 24">
            <a:extLst>
              <a:ext uri="{FF2B5EF4-FFF2-40B4-BE49-F238E27FC236}">
                <a16:creationId xmlns:a16="http://schemas.microsoft.com/office/drawing/2014/main" id="{94F1BD0A-3A52-5543-B210-9AA34AC3D5F8}"/>
              </a:ext>
            </a:extLst>
          </p:cNvPr>
          <p:cNvSpPr txBox="1"/>
          <p:nvPr/>
        </p:nvSpPr>
        <p:spPr>
          <a:xfrm>
            <a:off x="187214" y="1504707"/>
            <a:ext cx="7482348" cy="51469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algn="ctr">
              <a:lnSpc>
                <a:spcPct val="120100"/>
              </a:lnSpc>
              <a:spcBef>
                <a:spcPts val="95"/>
              </a:spcBef>
              <a:defRPr/>
            </a:pPr>
            <a:r>
              <a:rPr lang="ru-RU" sz="1400" b="1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ЛЬЗОВАТЕЛЬ УЗНАЕТ О СЕРВИСЕ ИЗ ОДНОГО </a:t>
            </a:r>
            <a:endParaRPr lang="en-GB" sz="1400" b="1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2700" marR="5080" lvl="0" algn="ctr">
              <a:lnSpc>
                <a:spcPct val="120100"/>
              </a:lnSpc>
              <a:spcBef>
                <a:spcPts val="95"/>
              </a:spcBef>
              <a:defRPr/>
            </a:pPr>
            <a:r>
              <a:rPr lang="ru-RU" sz="1400" b="1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З КАНАЛОВ КОММУНИКАЦИЙ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C8A2990-050D-D54F-A21A-FD302969CF7C}"/>
              </a:ext>
            </a:extLst>
          </p:cNvPr>
          <p:cNvSpPr txBox="1"/>
          <p:nvPr/>
        </p:nvSpPr>
        <p:spPr>
          <a:xfrm>
            <a:off x="2074611" y="293761"/>
            <a:ext cx="52286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spc="120" dirty="0">
                <a:solidFill>
                  <a:schemeClr val="tx1">
                    <a:lumMod val="75000"/>
                    <a:lumOff val="25000"/>
                  </a:schemeClr>
                </a:solidFill>
                <a:latin typeface="Rotonda Bold" panose="02000803030000020004" pitchFamily="2" charset="0"/>
                <a:ea typeface="Montserrat" charset="0"/>
                <a:cs typeface="Arial Black" panose="020B0604020202020204" pitchFamily="34" charset="0"/>
              </a:rPr>
              <a:t>КАК ПОЛУЧИТЬ ПОМОЩЬ</a:t>
            </a:r>
          </a:p>
        </p:txBody>
      </p:sp>
      <p:sp>
        <p:nvSpPr>
          <p:cNvPr id="24" name="object 24">
            <a:extLst>
              <a:ext uri="{FF2B5EF4-FFF2-40B4-BE49-F238E27FC236}">
                <a16:creationId xmlns:a16="http://schemas.microsoft.com/office/drawing/2014/main" id="{6A4535CA-FC3D-B84A-97A3-4A23423BB8C7}"/>
              </a:ext>
            </a:extLst>
          </p:cNvPr>
          <p:cNvSpPr txBox="1"/>
          <p:nvPr/>
        </p:nvSpPr>
        <p:spPr>
          <a:xfrm>
            <a:off x="739940" y="3002743"/>
            <a:ext cx="2704595" cy="60003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algn="ctr">
              <a:lnSpc>
                <a:spcPct val="120100"/>
              </a:lnSpc>
              <a:spcBef>
                <a:spcPts val="95"/>
              </a:spcBef>
              <a:defRPr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ереходит на страницу 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hlinkClick r:id="rId16"/>
              </a:rPr>
              <a:t>https://veb.dr-telemed.ru/</a:t>
            </a:r>
            <a:r>
              <a:rPr lang="en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ли скачивает мобильное приложение</a:t>
            </a:r>
          </a:p>
        </p:txBody>
      </p:sp>
      <p:sp>
        <p:nvSpPr>
          <p:cNvPr id="26" name="object 24">
            <a:extLst>
              <a:ext uri="{FF2B5EF4-FFF2-40B4-BE49-F238E27FC236}">
                <a16:creationId xmlns:a16="http://schemas.microsoft.com/office/drawing/2014/main" id="{AA4A29AD-4797-BF43-9922-DEFEB0AD3297}"/>
              </a:ext>
            </a:extLst>
          </p:cNvPr>
          <p:cNvSpPr txBox="1"/>
          <p:nvPr/>
        </p:nvSpPr>
        <p:spPr>
          <a:xfrm>
            <a:off x="927155" y="4536314"/>
            <a:ext cx="2373104" cy="3969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algn="ctr">
              <a:lnSpc>
                <a:spcPct val="120100"/>
              </a:lnSpc>
              <a:spcBef>
                <a:spcPts val="95"/>
              </a:spcBef>
              <a:defRPr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гистрируется и вводит </a:t>
            </a:r>
            <a:r>
              <a:rPr lang="ru-RU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мокод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«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VEBMED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28" name="object 24">
            <a:extLst>
              <a:ext uri="{FF2B5EF4-FFF2-40B4-BE49-F238E27FC236}">
                <a16:creationId xmlns:a16="http://schemas.microsoft.com/office/drawing/2014/main" id="{814A478C-4F35-5E47-BED7-B90F6BF22B3A}"/>
              </a:ext>
            </a:extLst>
          </p:cNvPr>
          <p:cNvSpPr txBox="1"/>
          <p:nvPr/>
        </p:nvSpPr>
        <p:spPr>
          <a:xfrm>
            <a:off x="1209719" y="6086477"/>
            <a:ext cx="1807977" cy="60003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ctr">
              <a:lnSpc>
                <a:spcPct val="120100"/>
              </a:lnSpc>
              <a:spcBef>
                <a:spcPts val="95"/>
              </a:spcBef>
              <a:defRPr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лучает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сплатную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нсультацию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на платформе</a:t>
            </a:r>
          </a:p>
        </p:txBody>
      </p:sp>
      <p:cxnSp>
        <p:nvCxnSpPr>
          <p:cNvPr id="33" name="Straight Connector 28">
            <a:extLst>
              <a:ext uri="{FF2B5EF4-FFF2-40B4-BE49-F238E27FC236}">
                <a16:creationId xmlns:a16="http://schemas.microsoft.com/office/drawing/2014/main" id="{12852543-4460-E346-8028-0BAD7AB7BE54}"/>
              </a:ext>
            </a:extLst>
          </p:cNvPr>
          <p:cNvCxnSpPr>
            <a:cxnSpLocks/>
          </p:cNvCxnSpPr>
          <p:nvPr/>
        </p:nvCxnSpPr>
        <p:spPr>
          <a:xfrm flipV="1">
            <a:off x="7149113" y="-707923"/>
            <a:ext cx="0" cy="442861"/>
          </a:xfrm>
          <a:prstGeom prst="line">
            <a:avLst/>
          </a:prstGeom>
          <a:ln w="19050">
            <a:solidFill>
              <a:schemeClr val="bg1">
                <a:lumMod val="85000"/>
                <a:alpha val="50000"/>
              </a:schemeClr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28">
            <a:extLst>
              <a:ext uri="{FF2B5EF4-FFF2-40B4-BE49-F238E27FC236}">
                <a16:creationId xmlns:a16="http://schemas.microsoft.com/office/drawing/2014/main" id="{88AB3D1F-E2BF-CB48-AA3E-B4E002101425}"/>
              </a:ext>
            </a:extLst>
          </p:cNvPr>
          <p:cNvCxnSpPr>
            <a:cxnSpLocks/>
          </p:cNvCxnSpPr>
          <p:nvPr/>
        </p:nvCxnSpPr>
        <p:spPr>
          <a:xfrm flipH="1">
            <a:off x="4895948" y="-2430851"/>
            <a:ext cx="980768" cy="489617"/>
          </a:xfrm>
          <a:prstGeom prst="line">
            <a:avLst/>
          </a:prstGeom>
          <a:ln w="19050">
            <a:solidFill>
              <a:schemeClr val="bg1">
                <a:lumMod val="85000"/>
                <a:alpha val="50000"/>
              </a:schemeClr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bject 24">
            <a:extLst>
              <a:ext uri="{FF2B5EF4-FFF2-40B4-BE49-F238E27FC236}">
                <a16:creationId xmlns:a16="http://schemas.microsoft.com/office/drawing/2014/main" id="{2C21B71D-0E84-544D-B8FA-E009C78F526A}"/>
              </a:ext>
            </a:extLst>
          </p:cNvPr>
          <p:cNvSpPr txBox="1"/>
          <p:nvPr/>
        </p:nvSpPr>
        <p:spPr>
          <a:xfrm>
            <a:off x="4725697" y="3095652"/>
            <a:ext cx="1931871" cy="612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algn="ctr">
              <a:lnSpc>
                <a:spcPct val="120100"/>
              </a:lnSpc>
              <a:spcBef>
                <a:spcPts val="95"/>
              </a:spcBef>
              <a:defRPr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вонит на бесплатный номер </a:t>
            </a:r>
          </a:p>
          <a:p>
            <a:pPr marL="12700" marR="5080" lvl="0" algn="ctr">
              <a:lnSpc>
                <a:spcPct val="120100"/>
              </a:lnSpc>
              <a:spcBef>
                <a:spcPts val="95"/>
              </a:spcBef>
              <a:defRPr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-800-550-69-17</a:t>
            </a:r>
          </a:p>
        </p:txBody>
      </p:sp>
      <p:sp>
        <p:nvSpPr>
          <p:cNvPr id="42" name="object 24">
            <a:extLst>
              <a:ext uri="{FF2B5EF4-FFF2-40B4-BE49-F238E27FC236}">
                <a16:creationId xmlns:a16="http://schemas.microsoft.com/office/drawing/2014/main" id="{E4380E6E-123B-1D45-AB54-D5C94B51087F}"/>
              </a:ext>
            </a:extLst>
          </p:cNvPr>
          <p:cNvSpPr txBox="1"/>
          <p:nvPr/>
        </p:nvSpPr>
        <p:spPr>
          <a:xfrm>
            <a:off x="4496976" y="4473832"/>
            <a:ext cx="2389310" cy="82881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algn="ctr">
              <a:lnSpc>
                <a:spcPct val="120100"/>
              </a:lnSpc>
              <a:spcBef>
                <a:spcPts val="95"/>
              </a:spcBef>
              <a:defRPr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ператор КЦ регистрирует Клиента (</a:t>
            </a:r>
            <a:r>
              <a:rPr lang="ru-RU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мокод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не нужен) </a:t>
            </a:r>
          </a:p>
          <a:p>
            <a:pPr marL="12700" marR="5080" lvl="0" algn="ctr">
              <a:lnSpc>
                <a:spcPct val="120100"/>
              </a:lnSpc>
              <a:spcBef>
                <a:spcPts val="95"/>
              </a:spcBef>
              <a:defRPr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 записывает</a:t>
            </a:r>
          </a:p>
          <a:p>
            <a:pPr marL="12700" marR="5080" lvl="0" algn="ctr">
              <a:lnSpc>
                <a:spcPct val="120100"/>
              </a:lnSpc>
              <a:spcBef>
                <a:spcPts val="95"/>
              </a:spcBef>
              <a:defRPr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консультацию</a:t>
            </a:r>
          </a:p>
        </p:txBody>
      </p:sp>
      <p:sp>
        <p:nvSpPr>
          <p:cNvPr id="43" name="object 24">
            <a:extLst>
              <a:ext uri="{FF2B5EF4-FFF2-40B4-BE49-F238E27FC236}">
                <a16:creationId xmlns:a16="http://schemas.microsoft.com/office/drawing/2014/main" id="{3331D5CA-5CF2-6E48-9C39-33D3DA99BF8E}"/>
              </a:ext>
            </a:extLst>
          </p:cNvPr>
          <p:cNvSpPr txBox="1"/>
          <p:nvPr/>
        </p:nvSpPr>
        <p:spPr>
          <a:xfrm>
            <a:off x="4775435" y="6051610"/>
            <a:ext cx="1882133" cy="60003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algn="ctr">
              <a:lnSpc>
                <a:spcPct val="120100"/>
              </a:lnSpc>
              <a:spcBef>
                <a:spcPts val="95"/>
              </a:spcBef>
              <a:defRPr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лучает </a:t>
            </a:r>
            <a:r>
              <a: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сплатную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нсультацию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о телефону</a:t>
            </a:r>
          </a:p>
        </p:txBody>
      </p:sp>
      <p:sp>
        <p:nvSpPr>
          <p:cNvPr id="45" name="Нашивка 44">
            <a:extLst>
              <a:ext uri="{FF2B5EF4-FFF2-40B4-BE49-F238E27FC236}">
                <a16:creationId xmlns:a16="http://schemas.microsoft.com/office/drawing/2014/main" id="{7B82C9A2-4140-A84A-9A36-29EBC125DA21}"/>
              </a:ext>
            </a:extLst>
          </p:cNvPr>
          <p:cNvSpPr/>
          <p:nvPr/>
        </p:nvSpPr>
        <p:spPr>
          <a:xfrm rot="5400000">
            <a:off x="3851322" y="5390499"/>
            <a:ext cx="313134" cy="631373"/>
          </a:xfrm>
          <a:prstGeom prst="chevron">
            <a:avLst/>
          </a:pr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1DE493EB-2A3C-4EB7-BBB0-5281458352F6}"/>
              </a:ext>
            </a:extLst>
          </p:cNvPr>
          <p:cNvSpPr/>
          <p:nvPr/>
        </p:nvSpPr>
        <p:spPr>
          <a:xfrm>
            <a:off x="187214" y="6337267"/>
            <a:ext cx="55272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Нашивка 44">
            <a:extLst>
              <a:ext uri="{FF2B5EF4-FFF2-40B4-BE49-F238E27FC236}">
                <a16:creationId xmlns:a16="http://schemas.microsoft.com/office/drawing/2014/main" id="{7B82C9A2-4140-A84A-9A36-29EBC125DA21}"/>
              </a:ext>
            </a:extLst>
          </p:cNvPr>
          <p:cNvSpPr/>
          <p:nvPr/>
        </p:nvSpPr>
        <p:spPr>
          <a:xfrm rot="5400000">
            <a:off x="3851320" y="3859387"/>
            <a:ext cx="313135" cy="631373"/>
          </a:xfrm>
          <a:prstGeom prst="chevron">
            <a:avLst/>
          </a:pr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0" name="Нашивка 44">
            <a:extLst>
              <a:ext uri="{FF2B5EF4-FFF2-40B4-BE49-F238E27FC236}">
                <a16:creationId xmlns:a16="http://schemas.microsoft.com/office/drawing/2014/main" id="{7B82C9A2-4140-A84A-9A36-29EBC125DA21}"/>
              </a:ext>
            </a:extLst>
          </p:cNvPr>
          <p:cNvSpPr/>
          <p:nvPr/>
        </p:nvSpPr>
        <p:spPr>
          <a:xfrm rot="5400000">
            <a:off x="3851320" y="2281923"/>
            <a:ext cx="313135" cy="631373"/>
          </a:xfrm>
          <a:prstGeom prst="chevron">
            <a:avLst/>
          </a:pr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51" name="Picture 2" descr="Картинки по запросу &quot;вэб.рф&quot;"/>
          <p:cNvPicPr>
            <a:picLocks noChangeAspect="1" noChangeArrowheads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3804" y="453272"/>
            <a:ext cx="557359" cy="434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Рисунок 51" descr="Изображение выглядит как рисунок, знак&#10;&#10;Автоматически созданное описание">
            <a:extLst>
              <a:ext uri="{FF2B5EF4-FFF2-40B4-BE49-F238E27FC236}">
                <a16:creationId xmlns:a16="http://schemas.microsoft.com/office/drawing/2014/main" id="{30ACFA06-77ED-48C9-A32A-CF65EEF4994E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36" t="22688" r="58117" b="21496"/>
          <a:stretch/>
        </p:blipFill>
        <p:spPr>
          <a:xfrm>
            <a:off x="477749" y="395647"/>
            <a:ext cx="553947" cy="570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1668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0F975B94-E97D-4E3E-ABD0-027C211DC7A9}"/>
              </a:ext>
            </a:extLst>
          </p:cNvPr>
          <p:cNvSpPr txBox="1"/>
          <p:nvPr/>
        </p:nvSpPr>
        <p:spPr>
          <a:xfrm>
            <a:off x="2083383" y="413944"/>
            <a:ext cx="79750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Rotonda Bold" panose="02000803030000020004" pitchFamily="2" charset="0"/>
                <a:ea typeface="Montserrat" charset="0"/>
                <a:cs typeface="Arial Black" panose="020B0604020202020204" pitchFamily="34" charset="0"/>
              </a:rPr>
              <a:t>НАШИ ПАРТНЕРЫ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31696" y="2106061"/>
            <a:ext cx="7591194" cy="1183399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1DE493EB-2A3C-4EB7-BBB0-5281458352F6}"/>
              </a:ext>
            </a:extLst>
          </p:cNvPr>
          <p:cNvSpPr/>
          <p:nvPr/>
        </p:nvSpPr>
        <p:spPr>
          <a:xfrm>
            <a:off x="187214" y="6337267"/>
            <a:ext cx="55272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2" name="Picture 2" descr="Картинки по запросу &quot;вэб.рф&quot;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718" y="453272"/>
            <a:ext cx="557359" cy="434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Рисунок 22" descr="Изображение выглядит как рисунок, знак&#10;&#10;Автоматически созданное описание">
            <a:extLst>
              <a:ext uri="{FF2B5EF4-FFF2-40B4-BE49-F238E27FC236}">
                <a16:creationId xmlns:a16="http://schemas.microsoft.com/office/drawing/2014/main" id="{30ACFA06-77ED-48C9-A32A-CF65EEF4994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36" t="22688" r="58117" b="21496"/>
          <a:stretch/>
        </p:blipFill>
        <p:spPr>
          <a:xfrm>
            <a:off x="477749" y="395647"/>
            <a:ext cx="553947" cy="570081"/>
          </a:xfrm>
          <a:prstGeom prst="rect">
            <a:avLst/>
          </a:prstGeom>
        </p:spPr>
      </p:pic>
      <p:sp>
        <p:nvSpPr>
          <p:cNvPr id="17" name="object 39">
            <a:extLst>
              <a:ext uri="{FF2B5EF4-FFF2-40B4-BE49-F238E27FC236}">
                <a16:creationId xmlns:a16="http://schemas.microsoft.com/office/drawing/2014/main" id="{1C2325DC-039E-4C5F-9AD0-7CD59FB9CD92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838200" y="1330325"/>
            <a:ext cx="10515600" cy="3878241"/>
          </a:xfrm>
          <a:prstGeom prst="rect">
            <a:avLst/>
          </a:prstGeom>
        </p:spPr>
        <p:txBody>
          <a:bodyPr vert="horz" wrap="square" lIns="0" tIns="194310" rIns="0" bIns="0" rtlCol="0">
            <a:spAutoFit/>
          </a:bodyPr>
          <a:lstStyle/>
          <a:p>
            <a:pPr marL="198755" lvl="0" indent="0" defTabSz="914400">
              <a:lnSpc>
                <a:spcPct val="100000"/>
              </a:lnSpc>
              <a:spcBef>
                <a:spcPts val="1365"/>
              </a:spcBef>
              <a:buNone/>
              <a:defRPr/>
            </a:pPr>
            <a:r>
              <a:rPr lang="en-US" sz="2400" dirty="0">
                <a:solidFill>
                  <a:srgbClr val="FF6700"/>
                </a:solidFill>
                <a:latin typeface="Rotonda Bold" panose="02000803030000020004" pitchFamily="2" charset="0"/>
                <a:cs typeface="Arial Black" panose="020B0604020202020204" pitchFamily="34" charset="0"/>
              </a:rPr>
              <a:t>&gt; </a:t>
            </a:r>
            <a:r>
              <a:rPr lang="en-US" sz="2400" dirty="0">
                <a:solidFill>
                  <a:srgbClr val="FF67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Black" panose="020B0604020202020204" pitchFamily="34" charset="0"/>
              </a:rPr>
              <a:t>2</a:t>
            </a:r>
            <a:r>
              <a:rPr lang="ru-RU" sz="2400" dirty="0">
                <a:solidFill>
                  <a:srgbClr val="FF67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Black" panose="020B0604020202020204" pitchFamily="34" charset="0"/>
              </a:rPr>
              <a:t>0 московских и региональных клиник</a:t>
            </a:r>
          </a:p>
          <a:p>
            <a:pPr marL="198755" lvl="0" indent="0" defTabSz="914400">
              <a:lnSpc>
                <a:spcPct val="100000"/>
              </a:lnSpc>
              <a:spcBef>
                <a:spcPts val="1365"/>
              </a:spcBef>
              <a:buNone/>
              <a:defRPr/>
            </a:pPr>
            <a:endParaRPr lang="ru-RU" sz="2400" dirty="0">
              <a:solidFill>
                <a:srgbClr val="FF6700"/>
              </a:solidFill>
              <a:latin typeface="Verdana" panose="020B0604030504040204" pitchFamily="34" charset="0"/>
              <a:ea typeface="Verdana" panose="020B0604030504040204" pitchFamily="34" charset="0"/>
              <a:cs typeface="Arial Black" panose="020B0604020202020204" pitchFamily="34" charset="0"/>
            </a:endParaRPr>
          </a:p>
          <a:p>
            <a:pPr marL="0" indent="0">
              <a:buNone/>
            </a:pPr>
            <a:r>
              <a:rPr lang="ru-RU" sz="1600" b="1" dirty="0">
                <a:solidFill>
                  <a:srgbClr val="069E2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овские клиники: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Сеть клиник </a:t>
            </a:r>
            <a:r>
              <a:rPr lang="ru-RU" sz="1600" dirty="0" err="1">
                <a:latin typeface="Verdana" panose="020B0604030504040204" pitchFamily="34" charset="0"/>
                <a:ea typeface="Verdana" panose="020B0604030504040204" pitchFamily="34" charset="0"/>
              </a:rPr>
              <a:t>Ниармедик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 / Доктор рядом, медицинский центр Тигренок, Скандинавский центр здоровья, </a:t>
            </a:r>
            <a:r>
              <a:rPr lang="ru-RU" sz="1600" dirty="0" err="1">
                <a:latin typeface="Verdana" panose="020B0604030504040204" pitchFamily="34" charset="0"/>
                <a:ea typeface="Verdana" panose="020B0604030504040204" pitchFamily="34" charset="0"/>
              </a:rPr>
              <a:t>Витбиомед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+, </a:t>
            </a:r>
            <a:r>
              <a:rPr lang="ru-RU" sz="1600" dirty="0" err="1">
                <a:latin typeface="Verdana" panose="020B0604030504040204" pitchFamily="34" charset="0"/>
                <a:ea typeface="Verdana" panose="020B0604030504040204" pitchFamily="34" charset="0"/>
              </a:rPr>
              <a:t>Регионмедсервис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, ДОК+, </a:t>
            </a:r>
            <a:r>
              <a:rPr lang="ru-RU" sz="1600" dirty="0" err="1">
                <a:latin typeface="Verdana" panose="020B0604030504040204" pitchFamily="34" charset="0"/>
                <a:ea typeface="Verdana" panose="020B0604030504040204" pitchFamily="34" charset="0"/>
              </a:rPr>
              <a:t>Sante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600" dirty="0" err="1">
                <a:latin typeface="Verdana" panose="020B0604030504040204" pitchFamily="34" charset="0"/>
                <a:ea typeface="Verdana" panose="020B0604030504040204" pitchFamily="34" charset="0"/>
              </a:rPr>
              <a:t>Clinic</a:t>
            </a:r>
            <a:endParaRPr lang="ru-RU" sz="1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indent="0">
              <a:buNone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0" indent="0">
              <a:buNone/>
            </a:pPr>
            <a:r>
              <a:rPr lang="ru-RU" sz="1600" b="1" dirty="0">
                <a:solidFill>
                  <a:srgbClr val="069E2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гиональные партнеры: </a:t>
            </a:r>
            <a:r>
              <a:rPr lang="ru-RU" sz="1600" dirty="0" err="1">
                <a:latin typeface="Verdana" panose="020B0604030504040204" pitchFamily="34" charset="0"/>
                <a:ea typeface="Verdana" panose="020B0604030504040204" pitchFamily="34" charset="0"/>
              </a:rPr>
              <a:t>Медэкспресс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 (Рязань), Любимый доктор (Пермь), МЕДИС (Пермь), </a:t>
            </a:r>
            <a:r>
              <a:rPr lang="ru-RU" sz="1600" dirty="0" err="1">
                <a:latin typeface="Verdana" panose="020B0604030504040204" pitchFamily="34" charset="0"/>
                <a:ea typeface="Verdana" panose="020B0604030504040204" pitchFamily="34" charset="0"/>
              </a:rPr>
              <a:t>Врачъ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 (</a:t>
            </a:r>
            <a:r>
              <a:rPr lang="ru-RU" sz="1600" dirty="0" err="1">
                <a:latin typeface="Verdana" panose="020B0604030504040204" pitchFamily="34" charset="0"/>
                <a:ea typeface="Verdana" panose="020B0604030504040204" pitchFamily="34" charset="0"/>
              </a:rPr>
              <a:t>Ростов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-на-Дону)</a:t>
            </a:r>
          </a:p>
          <a:p>
            <a:pPr marL="0" indent="0">
              <a:buNone/>
            </a:pPr>
            <a:endParaRPr lang="ru-RU" sz="1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indent="0">
              <a:buNone/>
            </a:pPr>
            <a:r>
              <a:rPr lang="ru-RU" sz="1600" b="1" dirty="0">
                <a:solidFill>
                  <a:srgbClr val="069E2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ближайшее время подключатся клиники: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Санкт-Петербурга, Оренбурга, Белгорода, Алтайского края, Екатеринбурга, Краснодара, Башкирии</a:t>
            </a:r>
          </a:p>
          <a:p>
            <a:pPr marL="0" indent="0">
              <a:buNone/>
            </a:pPr>
            <a:endParaRPr lang="ru-RU" sz="1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36188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0F975B94-E97D-4E3E-ABD0-027C211DC7A9}"/>
              </a:ext>
            </a:extLst>
          </p:cNvPr>
          <p:cNvSpPr txBox="1"/>
          <p:nvPr/>
        </p:nvSpPr>
        <p:spPr>
          <a:xfrm>
            <a:off x="2083383" y="413944"/>
            <a:ext cx="79750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Rotonda Bold" panose="02000803030000020004" pitchFamily="2" charset="0"/>
                <a:ea typeface="Montserrat" charset="0"/>
                <a:cs typeface="Arial Black" panose="020B0604020202020204" pitchFamily="34" charset="0"/>
              </a:rPr>
              <a:t>ОТЗЫВЫ ПАЦИЕНТОВ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982934" y="1227583"/>
            <a:ext cx="8125683" cy="1394647"/>
          </a:xfrm>
          <a:prstGeom prst="rect">
            <a:avLst/>
          </a:prstGeom>
          <a:noFill/>
          <a:ln w="38100">
            <a:solidFill>
              <a:srgbClr val="E3E6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4C3D657-389B-427B-BA34-DD7EE98889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02607" y="1393456"/>
            <a:ext cx="7086162" cy="1672642"/>
          </a:xfrm>
        </p:spPr>
        <p:txBody>
          <a:bodyPr>
            <a:normAutofit/>
          </a:bodyPr>
          <a:lstStyle/>
          <a:p>
            <a:pPr marL="0" indent="0" algn="just">
              <a:lnSpc>
                <a:spcPct val="150000"/>
              </a:lnSpc>
              <a:buNone/>
            </a:pPr>
            <a:r>
              <a:rPr lang="ru-RU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Спасибо большое! Сейчас такая ситуация, я боялась идти в клинику. Везде пишут, что есть риск заразиться. Доктор помогла по телефону, ответила  на все вопросы!»</a:t>
            </a:r>
          </a:p>
          <a:p>
            <a:pPr marL="0" indent="0">
              <a:lnSpc>
                <a:spcPct val="150000"/>
              </a:lnSpc>
              <a:buNone/>
            </a:pPr>
            <a:endParaRPr lang="ru-RU" sz="1800" i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i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1DE493EB-2A3C-4EB7-BBB0-5281458352F6}"/>
              </a:ext>
            </a:extLst>
          </p:cNvPr>
          <p:cNvSpPr/>
          <p:nvPr/>
        </p:nvSpPr>
        <p:spPr>
          <a:xfrm>
            <a:off x="187214" y="6337267"/>
            <a:ext cx="55272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2" name="Picture 2" descr="Картинки по запросу &quot;вэб.рф&quot;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718" y="453272"/>
            <a:ext cx="557359" cy="434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Рисунок 22" descr="Изображение выглядит как рисунок, знак&#10;&#10;Автоматически созданное описание">
            <a:extLst>
              <a:ext uri="{FF2B5EF4-FFF2-40B4-BE49-F238E27FC236}">
                <a16:creationId xmlns:a16="http://schemas.microsoft.com/office/drawing/2014/main" id="{30ACFA06-77ED-48C9-A32A-CF65EEF4994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36" t="22688" r="58117" b="21496"/>
          <a:stretch/>
        </p:blipFill>
        <p:spPr>
          <a:xfrm>
            <a:off x="477749" y="395647"/>
            <a:ext cx="553947" cy="570081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61F2CE2F-6421-4AFF-B0EE-30FC8BA1FF8D}"/>
              </a:ext>
            </a:extLst>
          </p:cNvPr>
          <p:cNvSpPr/>
          <p:nvPr/>
        </p:nvSpPr>
        <p:spPr>
          <a:xfrm>
            <a:off x="970691" y="3075623"/>
            <a:ext cx="8192359" cy="1394647"/>
          </a:xfrm>
          <a:prstGeom prst="rect">
            <a:avLst/>
          </a:prstGeom>
          <a:noFill/>
          <a:ln w="38100">
            <a:solidFill>
              <a:srgbClr val="E3E6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8E550954-7F1C-4D67-89D6-71E435F5A8AB}"/>
              </a:ext>
            </a:extLst>
          </p:cNvPr>
          <p:cNvSpPr txBox="1">
            <a:spLocks/>
          </p:cNvSpPr>
          <p:nvPr/>
        </p:nvSpPr>
        <p:spPr>
          <a:xfrm>
            <a:off x="1488182" y="3250831"/>
            <a:ext cx="7086162" cy="16726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3" indent="-228603" algn="l" defTabSz="91441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8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4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0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6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7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3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8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ru-RU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Очень хороший проект! Получила бесплатную консультацию онлайн, когда ребенок плохо себя почувствовал. Спасибо большое врачу и сервису!»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ru-RU" sz="1800" i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ru-RU" i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id="{D4B92ADD-D54A-4FE1-BD0C-065E28A4E3F1}"/>
              </a:ext>
            </a:extLst>
          </p:cNvPr>
          <p:cNvSpPr txBox="1">
            <a:spLocks/>
          </p:cNvSpPr>
          <p:nvPr/>
        </p:nvSpPr>
        <p:spPr>
          <a:xfrm>
            <a:off x="4269482" y="5403481"/>
            <a:ext cx="7086162" cy="16726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3" indent="-228603" algn="l" defTabSz="91441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8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4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0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6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7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3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8" indent="-228603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ru-RU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Спасибо, что есть такая бесплатная помощь в сложившейся ситуации.»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ru-RU" sz="1800" i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ru-RU" i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29629E2-90FE-4843-BDD8-8370C482E4F8}"/>
              </a:ext>
            </a:extLst>
          </p:cNvPr>
          <p:cNvSpPr/>
          <p:nvPr/>
        </p:nvSpPr>
        <p:spPr>
          <a:xfrm>
            <a:off x="3437666" y="4903661"/>
            <a:ext cx="8192359" cy="1394647"/>
          </a:xfrm>
          <a:prstGeom prst="rect">
            <a:avLst/>
          </a:prstGeom>
          <a:noFill/>
          <a:ln w="38100">
            <a:solidFill>
              <a:srgbClr val="E3E6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42690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4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Y9SPMMnJ9ziSkqFDp9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7lOkB7ejNREcAOB_oj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Gq3dzPoPZVxXxTZALH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iYCGmEK8Vvxcoqd.xRVA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езентация Леонида2" id="{21B26DDE-E356-6E41-AAD7-DB8FF4B2B0D5}" vid="{174D52DB-B81C-564D-8C17-8824314C5CF9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034</TotalTime>
  <Words>560</Words>
  <Application>Microsoft Office PowerPoint</Application>
  <PresentationFormat>Широкоэкранный</PresentationFormat>
  <Paragraphs>106</Paragraphs>
  <Slides>10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7" baseType="lpstr">
      <vt:lpstr>Arial</vt:lpstr>
      <vt:lpstr>Calibri</vt:lpstr>
      <vt:lpstr>Calibri Light</vt:lpstr>
      <vt:lpstr>Rotonda Bold</vt:lpstr>
      <vt:lpstr>Verdana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ервая в России медицинская организация,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едых Александр</dc:creator>
  <cp:lastModifiedBy>Фефилова Варвара</cp:lastModifiedBy>
  <cp:revision>247</cp:revision>
  <cp:lastPrinted>2019-08-08T07:43:30Z</cp:lastPrinted>
  <dcterms:created xsi:type="dcterms:W3CDTF">2019-08-06T11:56:23Z</dcterms:created>
  <dcterms:modified xsi:type="dcterms:W3CDTF">2020-04-02T19:18:09Z</dcterms:modified>
</cp:coreProperties>
</file>